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9" r:id="rId4"/>
    <p:sldMasterId id="2147483733" r:id="rId5"/>
    <p:sldMasterId id="2147483763" r:id="rId6"/>
    <p:sldMasterId id="2147483816" r:id="rId7"/>
    <p:sldMasterId id="2147483846" r:id="rId8"/>
  </p:sldMasterIdLst>
  <p:notesMasterIdLst>
    <p:notesMasterId r:id="rId13"/>
  </p:notesMasterIdLst>
  <p:sldIdLst>
    <p:sldId id="275" r:id="rId9"/>
    <p:sldId id="2147479726" r:id="rId10"/>
    <p:sldId id="2147479751" r:id="rId11"/>
    <p:sldId id="2147479752" r:id="rId12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A5CA239-F4B9-31FB-FB44-EF16666F2754}" name="MEILHAN Anne" initials="MA" userId="S::anne.meilhan@somfy.com::ff8e5100-396f-4519-9bf2-060bd9216942" providerId="AD"/>
  <p188:author id="{30C23F4F-BB59-EA6E-D686-4CC034324E62}" name="BELLEVERGUE Veronique" initials="BV" userId="S::veronique.bellevergue@somfy.com::430427cb-b574-4a8a-8701-809d639c8691" providerId="AD"/>
  <p188:author id="{FBBCF78E-E152-4F8C-5039-3FB8C0B42179}" name="WESTERMANN Marc" initials="WM" userId="S::marc.westermann@somfy.com::1ed1c63c-33d8-4452-af81-a22725a88a6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4D5E"/>
    <a:srgbClr val="CCC4BD"/>
    <a:srgbClr val="F1EBE1"/>
    <a:srgbClr val="ECECEC"/>
    <a:srgbClr val="25485A"/>
    <a:srgbClr val="9E0001"/>
    <a:srgbClr val="25484A"/>
    <a:srgbClr val="2548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4AE5B4-37B6-487B-BEFD-25A46FDC8BEB}" v="8" dt="2025-08-18T14:44:30.0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Styl jasny 2 — Ak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Styl jasny 2 — Ak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Styl jasny 2 — Ak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Styl jasny 2 — Ak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Styl jasny 2 — Ak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84E427A-3D55-4303-BF80-6455036E1DE7}" styleName="Styl z motywem 1 — Ak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yl z motywem 1 — Ak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A107856-5554-42FB-B03E-39F5DBC370BA}" styleName="Styl pośredni 4 — Ak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7AC3CCA-C797-4891-BE02-D94E43425B78}" styleName="Styl pośredni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75DCB02-9BB8-47FD-8907-85C794F793BA}" styleName="Styl z motywem 1 — Ak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Styl z motywem 1 — Ak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73A0DAA-6AF3-43AB-8588-CEC1D06C72B9}" styleName="Styl pośredni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9" d="100"/>
          <a:sy n="99" d="100"/>
        </p:scale>
        <p:origin x="108" y="2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RSANYI, David" userId="479e7ad8-77b7-4b73-b2f7-dff7ead244f9" providerId="ADAL" clId="{384AE5B4-37B6-487B-BEFD-25A46FDC8BEB}"/>
    <pc:docChg chg="custSel delSld modSld">
      <pc:chgData name="HARSANYI, David" userId="479e7ad8-77b7-4b73-b2f7-dff7ead244f9" providerId="ADAL" clId="{384AE5B4-37B6-487B-BEFD-25A46FDC8BEB}" dt="2025-08-18T14:47:09.097" v="220" actId="14100"/>
      <pc:docMkLst>
        <pc:docMk/>
      </pc:docMkLst>
      <pc:sldChg chg="modSp mod">
        <pc:chgData name="HARSANYI, David" userId="479e7ad8-77b7-4b73-b2f7-dff7ead244f9" providerId="ADAL" clId="{384AE5B4-37B6-487B-BEFD-25A46FDC8BEB}" dt="2025-08-18T09:20:27.980" v="50" actId="20577"/>
        <pc:sldMkLst>
          <pc:docMk/>
          <pc:sldMk cId="799403357" sldId="275"/>
        </pc:sldMkLst>
        <pc:spChg chg="mod">
          <ac:chgData name="HARSANYI, David" userId="479e7ad8-77b7-4b73-b2f7-dff7ead244f9" providerId="ADAL" clId="{384AE5B4-37B6-487B-BEFD-25A46FDC8BEB}" dt="2025-08-18T09:20:27.980" v="50" actId="20577"/>
          <ac:spMkLst>
            <pc:docMk/>
            <pc:sldMk cId="799403357" sldId="275"/>
            <ac:spMk id="2" creationId="{A2318350-DA3D-B124-4C0C-AC4DDEAD53BF}"/>
          </ac:spMkLst>
        </pc:spChg>
      </pc:sldChg>
      <pc:sldChg chg="addSp delSp modSp mod">
        <pc:chgData name="HARSANYI, David" userId="479e7ad8-77b7-4b73-b2f7-dff7ead244f9" providerId="ADAL" clId="{384AE5B4-37B6-487B-BEFD-25A46FDC8BEB}" dt="2025-08-18T14:17:45.210" v="173" actId="1076"/>
        <pc:sldMkLst>
          <pc:docMk/>
          <pc:sldMk cId="3477404945" sldId="2147479726"/>
        </pc:sldMkLst>
        <pc:spChg chg="mod">
          <ac:chgData name="HARSANYI, David" userId="479e7ad8-77b7-4b73-b2f7-dff7ead244f9" providerId="ADAL" clId="{384AE5B4-37B6-487B-BEFD-25A46FDC8BEB}" dt="2025-08-18T09:22:24.910" v="97" actId="108"/>
          <ac:spMkLst>
            <pc:docMk/>
            <pc:sldMk cId="3477404945" sldId="2147479726"/>
            <ac:spMk id="7" creationId="{CA083D6D-643A-1074-95DD-E2479EAD30A0}"/>
          </ac:spMkLst>
        </pc:spChg>
        <pc:spChg chg="add mod">
          <ac:chgData name="HARSANYI, David" userId="479e7ad8-77b7-4b73-b2f7-dff7ead244f9" providerId="ADAL" clId="{384AE5B4-37B6-487B-BEFD-25A46FDC8BEB}" dt="2025-08-18T14:17:45.210" v="173" actId="1076"/>
          <ac:spMkLst>
            <pc:docMk/>
            <pc:sldMk cId="3477404945" sldId="2147479726"/>
            <ac:spMk id="52" creationId="{7B039D99-8CA6-A45F-0CDB-320D6306683D}"/>
          </ac:spMkLst>
        </pc:spChg>
        <pc:spChg chg="add mod">
          <ac:chgData name="HARSANYI, David" userId="479e7ad8-77b7-4b73-b2f7-dff7ead244f9" providerId="ADAL" clId="{384AE5B4-37B6-487B-BEFD-25A46FDC8BEB}" dt="2025-08-18T14:17:24.811" v="170" actId="20577"/>
          <ac:spMkLst>
            <pc:docMk/>
            <pc:sldMk cId="3477404945" sldId="2147479726"/>
            <ac:spMk id="53" creationId="{70083947-D0E3-EDF6-CE47-EB5311C92FD8}"/>
          </ac:spMkLst>
        </pc:spChg>
        <pc:spChg chg="add mod">
          <ac:chgData name="HARSANYI, David" userId="479e7ad8-77b7-4b73-b2f7-dff7ead244f9" providerId="ADAL" clId="{384AE5B4-37B6-487B-BEFD-25A46FDC8BEB}" dt="2025-08-18T14:17:34.741" v="172" actId="1076"/>
          <ac:spMkLst>
            <pc:docMk/>
            <pc:sldMk cId="3477404945" sldId="2147479726"/>
            <ac:spMk id="54" creationId="{1EA7E1CC-FB29-1234-8B47-C2EDA1A7BD68}"/>
          </ac:spMkLst>
        </pc:spChg>
        <pc:graphicFrameChg chg="add del mod">
          <ac:chgData name="HARSANYI, David" userId="479e7ad8-77b7-4b73-b2f7-dff7ead244f9" providerId="ADAL" clId="{384AE5B4-37B6-487B-BEFD-25A46FDC8BEB}" dt="2025-08-18T14:07:10.095" v="127" actId="478"/>
          <ac:graphicFrameMkLst>
            <pc:docMk/>
            <pc:sldMk cId="3477404945" sldId="2147479726"/>
            <ac:graphicFrameMk id="3" creationId="{3BD8CE00-FB2C-1A06-0435-58D61BCF26BC}"/>
          </ac:graphicFrameMkLst>
        </pc:graphicFrameChg>
        <pc:picChg chg="add mod">
          <ac:chgData name="HARSANYI, David" userId="479e7ad8-77b7-4b73-b2f7-dff7ead244f9" providerId="ADAL" clId="{384AE5B4-37B6-487B-BEFD-25A46FDC8BEB}" dt="2025-08-18T14:15:50.614" v="134" actId="1076"/>
          <ac:picMkLst>
            <pc:docMk/>
            <pc:sldMk cId="3477404945" sldId="2147479726"/>
            <ac:picMk id="51" creationId="{25747E0F-8FB0-A97E-2357-C664AD03899A}"/>
          </ac:picMkLst>
        </pc:picChg>
      </pc:sldChg>
      <pc:sldChg chg="del">
        <pc:chgData name="HARSANYI, David" userId="479e7ad8-77b7-4b73-b2f7-dff7ead244f9" providerId="ADAL" clId="{384AE5B4-37B6-487B-BEFD-25A46FDC8BEB}" dt="2025-08-18T13:41:01.065" v="103" actId="47"/>
        <pc:sldMkLst>
          <pc:docMk/>
          <pc:sldMk cId="3406067243" sldId="2147479750"/>
        </pc:sldMkLst>
      </pc:sldChg>
      <pc:sldChg chg="addSp delSp modSp mod">
        <pc:chgData name="HARSANYI, David" userId="479e7ad8-77b7-4b73-b2f7-dff7ead244f9" providerId="ADAL" clId="{384AE5B4-37B6-487B-BEFD-25A46FDC8BEB}" dt="2025-08-18T14:44:41.359" v="185" actId="20577"/>
        <pc:sldMkLst>
          <pc:docMk/>
          <pc:sldMk cId="3271596141" sldId="2147479751"/>
        </pc:sldMkLst>
        <pc:spChg chg="del">
          <ac:chgData name="HARSANYI, David" userId="479e7ad8-77b7-4b73-b2f7-dff7ead244f9" providerId="ADAL" clId="{384AE5B4-37B6-487B-BEFD-25A46FDC8BEB}" dt="2025-08-18T09:21:37.209" v="65" actId="478"/>
          <ac:spMkLst>
            <pc:docMk/>
            <pc:sldMk cId="3271596141" sldId="2147479751"/>
            <ac:spMk id="2" creationId="{19F241A2-C3FB-491C-BD6C-31600A39FFFB}"/>
          </ac:spMkLst>
        </pc:spChg>
        <pc:spChg chg="del">
          <ac:chgData name="HARSANYI, David" userId="479e7ad8-77b7-4b73-b2f7-dff7ead244f9" providerId="ADAL" clId="{384AE5B4-37B6-487B-BEFD-25A46FDC8BEB}" dt="2025-08-18T09:21:37.209" v="65" actId="478"/>
          <ac:spMkLst>
            <pc:docMk/>
            <pc:sldMk cId="3271596141" sldId="2147479751"/>
            <ac:spMk id="3" creationId="{D13FCE3E-9F18-ECA5-3458-0F7291A7AF47}"/>
          </ac:spMkLst>
        </pc:spChg>
        <pc:spChg chg="mod">
          <ac:chgData name="HARSANYI, David" userId="479e7ad8-77b7-4b73-b2f7-dff7ead244f9" providerId="ADAL" clId="{384AE5B4-37B6-487B-BEFD-25A46FDC8BEB}" dt="2025-08-18T14:44:41.359" v="185" actId="20577"/>
          <ac:spMkLst>
            <pc:docMk/>
            <pc:sldMk cId="3271596141" sldId="2147479751"/>
            <ac:spMk id="6" creationId="{6727DECC-F34A-42B0-7C29-3C5C789F1DFC}"/>
          </ac:spMkLst>
        </pc:spChg>
        <pc:spChg chg="del">
          <ac:chgData name="HARSANYI, David" userId="479e7ad8-77b7-4b73-b2f7-dff7ead244f9" providerId="ADAL" clId="{384AE5B4-37B6-487B-BEFD-25A46FDC8BEB}" dt="2025-08-18T09:21:37.209" v="65" actId="478"/>
          <ac:spMkLst>
            <pc:docMk/>
            <pc:sldMk cId="3271596141" sldId="2147479751"/>
            <ac:spMk id="8" creationId="{DD55CD80-05C6-71C5-8C0D-241F78C62A8F}"/>
          </ac:spMkLst>
        </pc:spChg>
        <pc:spChg chg="del">
          <ac:chgData name="HARSANYI, David" userId="479e7ad8-77b7-4b73-b2f7-dff7ead244f9" providerId="ADAL" clId="{384AE5B4-37B6-487B-BEFD-25A46FDC8BEB}" dt="2025-08-18T09:21:37.209" v="65" actId="478"/>
          <ac:spMkLst>
            <pc:docMk/>
            <pc:sldMk cId="3271596141" sldId="2147479751"/>
            <ac:spMk id="10" creationId="{3593A586-8AF1-B2FB-EB17-96EDB760472E}"/>
          </ac:spMkLst>
        </pc:spChg>
        <pc:spChg chg="del">
          <ac:chgData name="HARSANYI, David" userId="479e7ad8-77b7-4b73-b2f7-dff7ead244f9" providerId="ADAL" clId="{384AE5B4-37B6-487B-BEFD-25A46FDC8BEB}" dt="2025-08-18T09:21:37.209" v="65" actId="478"/>
          <ac:spMkLst>
            <pc:docMk/>
            <pc:sldMk cId="3271596141" sldId="2147479751"/>
            <ac:spMk id="21" creationId="{4A68D322-6688-0D9D-C8BA-1BAB68C1D32A}"/>
          </ac:spMkLst>
        </pc:spChg>
        <pc:spChg chg="del">
          <ac:chgData name="HARSANYI, David" userId="479e7ad8-77b7-4b73-b2f7-dff7ead244f9" providerId="ADAL" clId="{384AE5B4-37B6-487B-BEFD-25A46FDC8BEB}" dt="2025-08-18T09:21:37.209" v="65" actId="478"/>
          <ac:spMkLst>
            <pc:docMk/>
            <pc:sldMk cId="3271596141" sldId="2147479751"/>
            <ac:spMk id="23" creationId="{B0C475B9-092E-CB39-7A23-023A1A0194C5}"/>
          </ac:spMkLst>
        </pc:spChg>
        <pc:spChg chg="del">
          <ac:chgData name="HARSANYI, David" userId="479e7ad8-77b7-4b73-b2f7-dff7ead244f9" providerId="ADAL" clId="{384AE5B4-37B6-487B-BEFD-25A46FDC8BEB}" dt="2025-08-18T09:21:37.209" v="65" actId="478"/>
          <ac:spMkLst>
            <pc:docMk/>
            <pc:sldMk cId="3271596141" sldId="2147479751"/>
            <ac:spMk id="32" creationId="{E100D769-F0DC-C6EB-24E1-AF2CCDE65865}"/>
          </ac:spMkLst>
        </pc:spChg>
        <pc:spChg chg="del">
          <ac:chgData name="HARSANYI, David" userId="479e7ad8-77b7-4b73-b2f7-dff7ead244f9" providerId="ADAL" clId="{384AE5B4-37B6-487B-BEFD-25A46FDC8BEB}" dt="2025-08-18T09:21:37.209" v="65" actId="478"/>
          <ac:spMkLst>
            <pc:docMk/>
            <pc:sldMk cId="3271596141" sldId="2147479751"/>
            <ac:spMk id="34" creationId="{4BB8AAF3-19D5-1301-7520-58142EA9F5DF}"/>
          </ac:spMkLst>
        </pc:spChg>
        <pc:spChg chg="del">
          <ac:chgData name="HARSANYI, David" userId="479e7ad8-77b7-4b73-b2f7-dff7ead244f9" providerId="ADAL" clId="{384AE5B4-37B6-487B-BEFD-25A46FDC8BEB}" dt="2025-08-18T09:21:37.209" v="65" actId="478"/>
          <ac:spMkLst>
            <pc:docMk/>
            <pc:sldMk cId="3271596141" sldId="2147479751"/>
            <ac:spMk id="197" creationId="{082B2104-CEC5-FD7F-D754-15BEE4A35DB9}"/>
          </ac:spMkLst>
        </pc:spChg>
        <pc:graphicFrameChg chg="add del mod modGraphic">
          <ac:chgData name="HARSANYI, David" userId="479e7ad8-77b7-4b73-b2f7-dff7ead244f9" providerId="ADAL" clId="{384AE5B4-37B6-487B-BEFD-25A46FDC8BEB}" dt="2025-08-18T13:48:47.116" v="104" actId="478"/>
          <ac:graphicFrameMkLst>
            <pc:docMk/>
            <pc:sldMk cId="3271596141" sldId="2147479751"/>
            <ac:graphicFrameMk id="5" creationId="{2991765B-1863-D595-486A-EA96F6063647}"/>
          </ac:graphicFrameMkLst>
        </pc:graphicFrameChg>
        <pc:graphicFrameChg chg="add mod modGraphic">
          <ac:chgData name="HARSANYI, David" userId="479e7ad8-77b7-4b73-b2f7-dff7ead244f9" providerId="ADAL" clId="{384AE5B4-37B6-487B-BEFD-25A46FDC8BEB}" dt="2025-08-18T13:49:06.842" v="115" actId="403"/>
          <ac:graphicFrameMkLst>
            <pc:docMk/>
            <pc:sldMk cId="3271596141" sldId="2147479751"/>
            <ac:graphicFrameMk id="9" creationId="{4D50ACB1-C8C2-DD51-B27E-4424CA56D01B}"/>
          </ac:graphicFrameMkLst>
        </pc:graphicFrameChg>
        <pc:picChg chg="del">
          <ac:chgData name="HARSANYI, David" userId="479e7ad8-77b7-4b73-b2f7-dff7ead244f9" providerId="ADAL" clId="{384AE5B4-37B6-487B-BEFD-25A46FDC8BEB}" dt="2025-08-18T09:21:37.209" v="65" actId="478"/>
          <ac:picMkLst>
            <pc:docMk/>
            <pc:sldMk cId="3271596141" sldId="2147479751"/>
            <ac:picMk id="11" creationId="{3945889F-3005-1409-640A-E0B6310D73BB}"/>
          </ac:picMkLst>
        </pc:picChg>
      </pc:sldChg>
      <pc:sldChg chg="addSp delSp modSp mod">
        <pc:chgData name="HARSANYI, David" userId="479e7ad8-77b7-4b73-b2f7-dff7ead244f9" providerId="ADAL" clId="{384AE5B4-37B6-487B-BEFD-25A46FDC8BEB}" dt="2025-08-18T14:47:09.097" v="220" actId="14100"/>
        <pc:sldMkLst>
          <pc:docMk/>
          <pc:sldMk cId="411349624" sldId="2147479752"/>
        </pc:sldMkLst>
        <pc:spChg chg="mod">
          <ac:chgData name="HARSANYI, David" userId="479e7ad8-77b7-4b73-b2f7-dff7ead244f9" providerId="ADAL" clId="{384AE5B4-37B6-487B-BEFD-25A46FDC8BEB}" dt="2025-08-18T14:45:01.300" v="213" actId="27636"/>
          <ac:spMkLst>
            <pc:docMk/>
            <pc:sldMk cId="411349624" sldId="2147479752"/>
            <ac:spMk id="6" creationId="{4CA3009B-5201-7E94-BD92-E1AADD595092}"/>
          </ac:spMkLst>
        </pc:spChg>
        <pc:graphicFrameChg chg="del modGraphic">
          <ac:chgData name="HARSANYI, David" userId="479e7ad8-77b7-4b73-b2f7-dff7ead244f9" providerId="ADAL" clId="{384AE5B4-37B6-487B-BEFD-25A46FDC8BEB}" dt="2025-08-18T14:44:34.608" v="175" actId="478"/>
          <ac:graphicFrameMkLst>
            <pc:docMk/>
            <pc:sldMk cId="411349624" sldId="2147479752"/>
            <ac:graphicFrameMk id="9" creationId="{54245E97-54E7-5BFF-448B-4F40B813EBE5}"/>
          </ac:graphicFrameMkLst>
        </pc:graphicFrameChg>
        <pc:picChg chg="add mod">
          <ac:chgData name="HARSANYI, David" userId="479e7ad8-77b7-4b73-b2f7-dff7ead244f9" providerId="ADAL" clId="{384AE5B4-37B6-487B-BEFD-25A46FDC8BEB}" dt="2025-08-18T14:45:14.292" v="216" actId="1076"/>
          <ac:picMkLst>
            <pc:docMk/>
            <pc:sldMk cId="411349624" sldId="2147479752"/>
            <ac:picMk id="3" creationId="{1F5D9A1C-6175-C89C-89DE-78E8ABC6115A}"/>
          </ac:picMkLst>
        </pc:picChg>
        <pc:picChg chg="add mod">
          <ac:chgData name="HARSANYI, David" userId="479e7ad8-77b7-4b73-b2f7-dff7ead244f9" providerId="ADAL" clId="{384AE5B4-37B6-487B-BEFD-25A46FDC8BEB}" dt="2025-08-18T14:47:09.097" v="220" actId="14100"/>
          <ac:picMkLst>
            <pc:docMk/>
            <pc:sldMk cId="411349624" sldId="2147479752"/>
            <ac:picMk id="7" creationId="{4233F030-9FCE-C0B3-474C-8607C4D2DA88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5A9648-C67D-1641-9718-286FC44C8F36}" type="datetimeFigureOut">
              <a:rPr lang="en-GB" smtClean="0"/>
              <a:t>18/08/2025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23D62F-7CA3-B74D-B033-82529AB9C0F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5821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23D62F-7CA3-B74D-B033-82529AB9C0F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38554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18Nm </a:t>
            </a:r>
            <a:r>
              <a:rPr lang="cs-CZ" dirty="0" err="1"/>
              <a:t>never</a:t>
            </a:r>
            <a:r>
              <a:rPr lang="cs-CZ" dirty="0"/>
              <a:t> sold – </a:t>
            </a:r>
            <a:r>
              <a:rPr lang="cs-CZ" dirty="0" err="1"/>
              <a:t>Quantity</a:t>
            </a:r>
            <a:r>
              <a:rPr lang="cs-CZ" dirty="0"/>
              <a:t>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170AF-DB53-4692-8114-621340710860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hu-H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3107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3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rgbClr val="25485A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2142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5277531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9342762-9DB2-0BB3-8BF7-2B308D83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5EEBB565-0D5F-A163-B519-39BD3169B0E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73999" y="2240895"/>
            <a:ext cx="5277531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172554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985156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682775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r>
              <a:rPr lang="fr-FR"/>
              <a:t>Somfy Smart Shading off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0037542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Lef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331763" y="1635569"/>
            <a:ext cx="5903912" cy="4073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0" i="0"/>
            </a:lvl1pPr>
          </a:lstStyle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320136" y="2241096"/>
            <a:ext cx="4189418" cy="30777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400" b="0" i="0" smtClean="0">
                <a:solidFill>
                  <a:schemeClr val="tx1"/>
                </a:solidFill>
                <a:latin typeface="Somfy Sans Light" pitchFamily="2" charset="0"/>
                <a:ea typeface="+mn-ea"/>
                <a:cs typeface="+mn-cs"/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just">
              <a:spcBef>
                <a:spcPts val="1200"/>
              </a:spcBef>
            </a:pPr>
            <a:r>
              <a:rPr lang="en-US"/>
              <a:t>Your description he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320136" y="1631933"/>
            <a:ext cx="4189417" cy="523220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marL="0" indent="0">
              <a:buNone/>
              <a:defRPr lang="en-US" sz="2800" b="0" i="0">
                <a:solidFill>
                  <a:schemeClr val="tx2"/>
                </a:solidFill>
                <a:latin typeface="Somfy Sans" pitchFamily="2" charset="0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Your title here</a:t>
            </a:r>
          </a:p>
        </p:txBody>
      </p:sp>
      <p:pic>
        <p:nvPicPr>
          <p:cNvPr id="15" name="Image 14" descr="Une image contenant dessin&#10;&#10;Description générée automatiquement">
            <a:extLst>
              <a:ext uri="{FF2B5EF4-FFF2-40B4-BE49-F238E27FC236}">
                <a16:creationId xmlns:a16="http://schemas.microsoft.com/office/drawing/2014/main" id="{285CCC1D-1982-274D-BB12-55F2BF3403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62626741-9D1E-3E4D-8417-9E6B48031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r>
              <a:rPr lang="fr-FR"/>
              <a:t>Somfy Smart Shading offer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AB78EB9-7E9A-2241-B5FA-F96DFEEA45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42F3494-024F-E54F-AC81-CD9D613EF1E2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407174D8-6145-2C4E-B5F7-77AF252CB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BDA64B4C-C1DB-C94D-A98F-3936F7A8B93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3126768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accent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79491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accent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807149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892EE5D-29F1-B631-BDCF-F8C06D229876}"/>
              </a:ext>
            </a:extLst>
          </p:cNvPr>
          <p:cNvSpPr txBox="1">
            <a:spLocks/>
          </p:cNvSpPr>
          <p:nvPr userDrawn="1"/>
        </p:nvSpPr>
        <p:spPr>
          <a:xfrm rot="5400000">
            <a:off x="1636496" y="1102178"/>
            <a:ext cx="1263421" cy="4653643"/>
          </a:xfrm>
          <a:prstGeom prst="round2SameRect">
            <a:avLst>
              <a:gd name="adj1" fmla="val 50000"/>
              <a:gd name="adj2" fmla="val 0"/>
            </a:avLst>
          </a:prstGeom>
          <a:noFill/>
          <a:ln w="28575">
            <a:solidFill>
              <a:schemeClr val="accent2"/>
            </a:solidFill>
          </a:ln>
        </p:spPr>
        <p:txBody>
          <a:bodyPr vert="horz" lIns="91440" tIns="432000" rIns="91440" bIns="72000" rtlCol="0" anchor="ctr">
            <a:norm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Somfy Sans Light" pitchFamily="2" charset="0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7DA399D-45B0-0CEA-A573-3E1B1AAC81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92098"/>
            <a:ext cx="4196444" cy="1263422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0BA31B-3600-CA67-63C4-4112FC284698}"/>
              </a:ext>
            </a:extLst>
          </p:cNvPr>
          <p:cNvSpPr/>
          <p:nvPr userDrawn="1"/>
        </p:nvSpPr>
        <p:spPr>
          <a:xfrm>
            <a:off x="-182880" y="2463501"/>
            <a:ext cx="182880" cy="1813797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047690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Pictur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13541" y="3939426"/>
            <a:ext cx="4318489" cy="1367360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E92C6ACC-ECE3-BC92-9E91-A4B8D05D6E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13542" y="2315255"/>
            <a:ext cx="4318489" cy="1653430"/>
          </a:xfrm>
        </p:spPr>
        <p:txBody>
          <a:bodyPr anchor="b">
            <a:normAutofit/>
          </a:bodyPr>
          <a:lstStyle>
            <a:lvl1pPr>
              <a:defRPr sz="2800" b="1" i="0">
                <a:latin typeface="Somfy Sans" pitchFamily="2" charset="0"/>
              </a:defRPr>
            </a:lvl1pPr>
          </a:lstStyle>
          <a:p>
            <a:pPr lvl="0"/>
            <a:r>
              <a:rPr lang="fr-FR"/>
              <a:t>01 titre du chapitre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D0A4EB0-799A-4E7A-050B-C9A4C60A38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16995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pter - Pictur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2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F28C8E5-56A6-2BC8-0A20-FBF9A15386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9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30924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pter - Picture -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3600" y="0"/>
            <a:ext cx="5267547" cy="6145178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8D9820A8-328A-6189-8EDD-CE60516090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9987" y="1505133"/>
            <a:ext cx="45670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6" name="Sous-titre 2">
            <a:extLst>
              <a:ext uri="{FF2B5EF4-FFF2-40B4-BE49-F238E27FC236}">
                <a16:creationId xmlns:a16="http://schemas.microsoft.com/office/drawing/2014/main" id="{93198A0B-FC30-5C11-2D1A-22B4CB7057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59988" y="3660655"/>
            <a:ext cx="456705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7643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1126798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9342762-9DB2-0BB3-8BF7-2B308D83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96346356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Neutral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7CD3411-2B7B-4281-7C8D-241760473C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03950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Neutral- Option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 : avec coins arrondis en haut 3">
            <a:extLst>
              <a:ext uri="{FF2B5EF4-FFF2-40B4-BE49-F238E27FC236}">
                <a16:creationId xmlns:a16="http://schemas.microsoft.com/office/drawing/2014/main" id="{08DA85AC-905A-9833-5330-89EE1361A228}"/>
              </a:ext>
            </a:extLst>
          </p:cNvPr>
          <p:cNvSpPr/>
          <p:nvPr userDrawn="1"/>
        </p:nvSpPr>
        <p:spPr>
          <a:xfrm>
            <a:off x="543599" y="0"/>
            <a:ext cx="5267547" cy="614195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585" y="1470375"/>
            <a:ext cx="4556643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0586" y="3625896"/>
            <a:ext cx="4556642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440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647206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397482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0" i="0"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/>
            </a:lvl2pPr>
            <a:lvl4pPr marL="1600200" indent="-228600">
              <a:buFont typeface="Apple Symbols" panose="02000000000000000000" pitchFamily="2" charset="-79"/>
              <a:buChar char="⎼"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FCCA95E-564E-74A8-78B0-C11C5C7887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9954" y="2240895"/>
            <a:ext cx="3263152" cy="3740357"/>
          </a:xfrm>
        </p:spPr>
        <p:txBody>
          <a:bodyPr>
            <a:normAutofit/>
          </a:bodyPr>
          <a:lstStyle>
            <a:lvl1pPr>
              <a:defRPr sz="3200" b="1" i="0">
                <a:latin typeface="Somfy Sans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FE2320D-21F5-02F6-4F6A-B59B9172F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3384897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5277531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/>
            </a:lvl2pPr>
            <a:lvl4pPr marL="1600200" indent="-228600">
              <a:buFont typeface="Apple Symbols" panose="02000000000000000000" pitchFamily="2" charset="-79"/>
              <a:buChar char="⎼"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9342762-9DB2-0BB3-8BF7-2B308D83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5EEBB565-0D5F-A163-B519-39BD3169B0E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73999" y="2240895"/>
            <a:ext cx="5277531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/>
            </a:lvl2pPr>
            <a:lvl4pPr marL="1600200" indent="-228600">
              <a:buFont typeface="Apple Symbols" panose="02000000000000000000" pitchFamily="2" charset="-79"/>
              <a:buChar char="⎼"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314907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1126798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/>
            </a:lvl2pPr>
            <a:lvl4pPr marL="1600200" indent="-228600">
              <a:buFont typeface="Apple Symbols" panose="02000000000000000000" pitchFamily="2" charset="-79"/>
              <a:buChar char="⎼"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9342762-9DB2-0BB3-8BF7-2B308D83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7103116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E68ACBD4-483B-BDB9-8E53-C17EF5B552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5545" y="2426677"/>
            <a:ext cx="3262313" cy="3772511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1pPr>
            <a:lvl2pPr marL="685800" indent="-228600">
              <a:buFont typeface="Apple Symbols" panose="02000000000000000000" pitchFamily="2" charset="-79"/>
              <a:buChar char="⎼"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9E969D69-B45D-F96D-5E11-A35E374DEC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5545" y="792291"/>
            <a:ext cx="2936482" cy="973879"/>
          </a:xfrm>
        </p:spPr>
        <p:txBody>
          <a:bodyPr bIns="108000">
            <a:noAutofit/>
          </a:bodyPr>
          <a:lstStyle>
            <a:lvl1pPr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Modifiez le style du </a:t>
            </a:r>
            <a:r>
              <a:rPr lang="fr-FR" err="1"/>
              <a:t>tit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904703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3192" y="6360296"/>
            <a:ext cx="39205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3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accent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accent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accent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accent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accent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accent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3889A12-6904-A817-264C-3F055299B3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45971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C954B6BB-57EA-C495-6B5D-EF46295EF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0145412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373736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>
            <a:solidFill>
              <a:schemeClr val="accent2"/>
            </a:solidFill>
          </a:ln>
        </p:spPr>
        <p:txBody>
          <a:bodyPr vert="horz" tIns="72000" bIns="72000">
            <a:normAutofit/>
          </a:bodyPr>
          <a:lstStyle>
            <a:lvl1pPr algn="ctr">
              <a:defRPr sz="32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 err="1"/>
              <a:t>Thank</a:t>
            </a:r>
            <a:r>
              <a:rPr lang="fr-FR"/>
              <a:t> </a:t>
            </a:r>
            <a:r>
              <a:rPr lang="fr-FR" err="1"/>
              <a:t>yo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15969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E68ACBD4-483B-BDB9-8E53-C17EF5B552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5545" y="2426677"/>
            <a:ext cx="3262313" cy="3772511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25485A"/>
                </a:solidFill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9E969D69-B45D-F96D-5E11-A35E374DEC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5545" y="792291"/>
            <a:ext cx="2936482" cy="973879"/>
          </a:xfrm>
        </p:spPr>
        <p:txBody>
          <a:bodyPr bIns="108000">
            <a:noAutofit/>
          </a:bodyPr>
          <a:lstStyle>
            <a:lvl1pPr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Modifiez le style du </a:t>
            </a:r>
            <a:r>
              <a:rPr lang="fr-FR" err="1"/>
              <a:t>tit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74768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3192" y="6360296"/>
            <a:ext cx="39205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3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rgbClr val="25485A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3889A12-6904-A817-264C-3F055299B3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576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C954B6BB-57EA-C495-6B5D-EF46295EF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167463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8567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>
            <a:solidFill>
              <a:schemeClr val="accent2"/>
            </a:solidFill>
          </a:ln>
        </p:spPr>
        <p:txBody>
          <a:bodyPr vert="horz" tIns="72000" bIns="72000">
            <a:normAutofit/>
          </a:bodyPr>
          <a:lstStyle>
            <a:lvl1pPr algn="ctr">
              <a:defRPr sz="32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 err="1"/>
              <a:t>Thank</a:t>
            </a:r>
            <a:r>
              <a:rPr lang="fr-FR"/>
              <a:t> </a:t>
            </a:r>
            <a:r>
              <a:rPr lang="fr-FR" err="1"/>
              <a:t>yo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07760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6" name="ZoneTexte 5"/>
          <p:cNvSpPr txBox="1"/>
          <p:nvPr userDrawn="1"/>
        </p:nvSpPr>
        <p:spPr>
          <a:xfrm>
            <a:off x="53597" y="312719"/>
            <a:ext cx="312160" cy="410433"/>
          </a:xfrm>
          <a:prstGeom prst="rect">
            <a:avLst/>
          </a:prstGeom>
          <a:noFill/>
        </p:spPr>
        <p:txBody>
          <a:bodyPr wrap="square" tIns="0" rIns="0" bIns="0" rtlCol="0" anchor="t" anchorCtr="0">
            <a:spAutoFit/>
          </a:bodyPr>
          <a:lstStyle/>
          <a:p>
            <a:pPr algn="r"/>
            <a:r>
              <a:rPr lang="fr-FR" sz="2667" b="1">
                <a:solidFill>
                  <a:srgbClr val="E95D0F"/>
                </a:solidFill>
              </a:rPr>
              <a:t>/</a:t>
            </a:r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486834" y="988485"/>
            <a:ext cx="10104967" cy="386122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8" y="5963258"/>
            <a:ext cx="12191999" cy="891525"/>
          </a:xfrm>
          <a:prstGeom prst="rect">
            <a:avLst/>
          </a:prstGeom>
        </p:spPr>
      </p:pic>
      <p:sp>
        <p:nvSpPr>
          <p:cNvPr id="1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96051" y="6503533"/>
            <a:ext cx="3860800" cy="2108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467" cap="all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U DOCUMENT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265920" y="6503533"/>
            <a:ext cx="636693" cy="2108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 b="1" cap="all">
                <a:solidFill>
                  <a:srgbClr val="E95D0F"/>
                </a:solidFill>
              </a:defRPr>
            </a:lvl1pPr>
          </a:lstStyle>
          <a:p>
            <a:fld id="{26B38A90-316F-AB4B-99AE-08E46F8057ED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3" name="Espace réservé de la date 6"/>
          <p:cNvSpPr>
            <a:spLocks noGrp="1"/>
          </p:cNvSpPr>
          <p:nvPr>
            <p:ph type="dt" sz="half" idx="2"/>
          </p:nvPr>
        </p:nvSpPr>
        <p:spPr>
          <a:xfrm>
            <a:off x="5283200" y="6503532"/>
            <a:ext cx="2844800" cy="250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67">
                <a:solidFill>
                  <a:srgbClr val="001C4B"/>
                </a:solidFill>
              </a:defRPr>
            </a:lvl1pPr>
          </a:lstStyle>
          <a:p>
            <a:fld id="{D22DAFA5-4332-564B-9A5F-8B63C19E24E3}" type="datetimeFigureOut">
              <a:rPr lang="fr-FR" smtClean="0"/>
              <a:pPr/>
              <a:t>18/08/20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63340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5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5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1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>
                <a:solidFill>
                  <a:srgbClr val="FFC000"/>
                </a:solidFill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/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1">
                <a:solidFill>
                  <a:srgbClr val="FFC000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6167508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suel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5342" y="1320582"/>
            <a:ext cx="5507189" cy="23294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6275342" y="2709237"/>
            <a:ext cx="5507191" cy="107721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pour une image  14"/>
          <p:cNvSpPr>
            <a:spLocks noGrp="1"/>
          </p:cNvSpPr>
          <p:nvPr>
            <p:ph type="pic" sz="quarter" idx="11"/>
          </p:nvPr>
        </p:nvSpPr>
        <p:spPr>
          <a:xfrm>
            <a:off x="409468" y="1053287"/>
            <a:ext cx="5470576" cy="5398408"/>
          </a:xfrm>
        </p:spPr>
        <p:txBody>
          <a:bodyPr wrap="none" anchor="ctr">
            <a:noAutofit/>
          </a:bodyPr>
          <a:lstStyle>
            <a:lvl1pPr algn="ctr">
              <a:defRPr sz="1600" b="0" i="0" cap="none" baseline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98651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rgbClr val="25485A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6443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fr-FR"/>
              <a:t>CLIQUEZ ET MODIFIEZ LE TITRE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677D4868-0BF2-4E52-AA8E-B884136988A5}"/>
              </a:ext>
            </a:extLst>
          </p:cNvPr>
          <p:cNvCxnSpPr/>
          <p:nvPr userDrawn="1"/>
        </p:nvCxnSpPr>
        <p:spPr>
          <a:xfrm flipH="1">
            <a:off x="0" y="932723"/>
            <a:ext cx="2063552" cy="0"/>
          </a:xfrm>
          <a:prstGeom prst="line">
            <a:avLst/>
          </a:prstGeom>
          <a:ln w="38100">
            <a:solidFill>
              <a:srgbClr val="485B7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C6551A9-63F0-4505-80AC-A03A0A65A1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62726" y="725335"/>
            <a:ext cx="4705349" cy="207388"/>
          </a:xfrm>
        </p:spPr>
        <p:txBody>
          <a:bodyPr>
            <a:noAutofit/>
          </a:bodyPr>
          <a:lstStyle>
            <a:lvl1pPr marL="0" indent="0">
              <a:buNone/>
              <a:defRPr sz="1867">
                <a:solidFill>
                  <a:schemeClr val="tx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59406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4746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22119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6762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03858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07374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60503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99590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82964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46701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892EE5D-29F1-B631-BDCF-F8C06D229876}"/>
              </a:ext>
            </a:extLst>
          </p:cNvPr>
          <p:cNvSpPr txBox="1">
            <a:spLocks/>
          </p:cNvSpPr>
          <p:nvPr userDrawn="1"/>
        </p:nvSpPr>
        <p:spPr>
          <a:xfrm rot="5400000">
            <a:off x="1636496" y="1102178"/>
            <a:ext cx="1263421" cy="4653643"/>
          </a:xfrm>
          <a:prstGeom prst="round2SameRect">
            <a:avLst>
              <a:gd name="adj1" fmla="val 50000"/>
              <a:gd name="adj2" fmla="val 0"/>
            </a:avLst>
          </a:prstGeom>
          <a:noFill/>
          <a:ln w="28575">
            <a:solidFill>
              <a:schemeClr val="accent2"/>
            </a:solidFill>
          </a:ln>
        </p:spPr>
        <p:txBody>
          <a:bodyPr vert="horz" lIns="91440" tIns="432000" rIns="91440" bIns="72000" rtlCol="0" anchor="ctr">
            <a:norm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Somfy Sans Light" pitchFamily="2" charset="0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7DA399D-45B0-0CEA-A573-3E1B1AAC81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92098"/>
            <a:ext cx="4196444" cy="1263422"/>
          </a:xfrm>
        </p:spPr>
        <p:txBody>
          <a:bodyPr>
            <a:normAutofit/>
          </a:bodyPr>
          <a:lstStyle>
            <a:lvl1pPr>
              <a:defRPr sz="3600">
                <a:solidFill>
                  <a:srgbClr val="25485A"/>
                </a:solidFill>
              </a:defRPr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0BA31B-3600-CA67-63C4-4112FC284698}"/>
              </a:ext>
            </a:extLst>
          </p:cNvPr>
          <p:cNvSpPr/>
          <p:nvPr userDrawn="1"/>
        </p:nvSpPr>
        <p:spPr>
          <a:xfrm>
            <a:off x="-182880" y="2463501"/>
            <a:ext cx="182880" cy="1813797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9630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57840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3915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64212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85962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5278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5169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9275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0512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3259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134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Pictur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13541" y="3939426"/>
            <a:ext cx="4318489" cy="1367360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E92C6ACC-ECE3-BC92-9E91-A4B8D05D6E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13542" y="2315255"/>
            <a:ext cx="4318489" cy="1653430"/>
          </a:xfrm>
        </p:spPr>
        <p:txBody>
          <a:bodyPr anchor="b">
            <a:normAutofit/>
          </a:bodyPr>
          <a:lstStyle>
            <a:lvl1pPr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01 titre du chapitre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D0A4EB0-799A-4E7A-050B-C9A4C60A38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4882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651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73431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46337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09546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16200000" flipH="1">
            <a:off x="4323721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684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5400000">
            <a:off x="5616997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823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62947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06838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endParaRPr lang="fr-F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34374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Lef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331763" y="1635569"/>
            <a:ext cx="5903912" cy="4073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0" i="0"/>
            </a:lvl1pPr>
          </a:lstStyle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320136" y="2241096"/>
            <a:ext cx="4189418" cy="30777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400" b="0" i="0" smtClean="0">
                <a:solidFill>
                  <a:schemeClr val="tx1"/>
                </a:solidFill>
                <a:latin typeface="Somfy Sans Light" pitchFamily="2" charset="0"/>
                <a:ea typeface="+mn-ea"/>
                <a:cs typeface="+mn-cs"/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just">
              <a:spcBef>
                <a:spcPts val="1200"/>
              </a:spcBef>
            </a:pPr>
            <a:r>
              <a:rPr lang="en-US"/>
              <a:t>Your description he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320136" y="1631933"/>
            <a:ext cx="4189417" cy="523220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marL="0" indent="0">
              <a:buNone/>
              <a:defRPr lang="en-US" sz="2800" b="0" i="0">
                <a:solidFill>
                  <a:schemeClr val="tx2"/>
                </a:solidFill>
                <a:latin typeface="Somfy Sans" pitchFamily="2" charset="0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Your title here</a:t>
            </a:r>
          </a:p>
        </p:txBody>
      </p:sp>
      <p:pic>
        <p:nvPicPr>
          <p:cNvPr id="15" name="Image 14" descr="Une image contenant dessin&#10;&#10;Description générée automatiquement">
            <a:extLst>
              <a:ext uri="{FF2B5EF4-FFF2-40B4-BE49-F238E27FC236}">
                <a16:creationId xmlns:a16="http://schemas.microsoft.com/office/drawing/2014/main" id="{285CCC1D-1982-274D-BB12-55F2BF3403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62626741-9D1E-3E4D-8417-9E6B48031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endParaRPr lang="fr-FR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AB78EB9-7E9A-2241-B5FA-F96DFEEA45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42F3494-024F-E54F-AC81-CD9D613EF1E2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407174D8-6145-2C4E-B5F7-77AF252CB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BDA64B4C-C1DB-C94D-A98F-3936F7A8B93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12933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pter - Pictur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2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F28C8E5-56A6-2BC8-0A20-FBF9A15386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9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39305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765406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19425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09112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932327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34805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647231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05696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83607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45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34332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pter - Picture -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3600" y="0"/>
            <a:ext cx="5267547" cy="6145178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8D9820A8-328A-6189-8EDD-CE60516090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9987" y="1505133"/>
            <a:ext cx="45670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6" name="Sous-titre 2">
            <a:extLst>
              <a:ext uri="{FF2B5EF4-FFF2-40B4-BE49-F238E27FC236}">
                <a16:creationId xmlns:a16="http://schemas.microsoft.com/office/drawing/2014/main" id="{93198A0B-FC30-5C11-2D1A-22B4CB7057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59988" y="3660655"/>
            <a:ext cx="456705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34352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08986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0027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0066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61526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50146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974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54653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95394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8153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982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Neutral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7CD3411-2B7B-4281-7C8D-241760473C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9134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030559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91037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70001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655339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29029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11019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728185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66340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93861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77658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Neutral- Option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 : avec coins arrondis en haut 3">
            <a:extLst>
              <a:ext uri="{FF2B5EF4-FFF2-40B4-BE49-F238E27FC236}">
                <a16:creationId xmlns:a16="http://schemas.microsoft.com/office/drawing/2014/main" id="{08DA85AC-905A-9833-5330-89EE1361A228}"/>
              </a:ext>
            </a:extLst>
          </p:cNvPr>
          <p:cNvSpPr/>
          <p:nvPr userDrawn="1"/>
        </p:nvSpPr>
        <p:spPr>
          <a:xfrm>
            <a:off x="543599" y="0"/>
            <a:ext cx="5267547" cy="614195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585" y="1470375"/>
            <a:ext cx="4556643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0586" y="3625896"/>
            <a:ext cx="4556642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440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737448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74309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233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610027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678467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048789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512001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92190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6655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911181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437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397482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0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FCCA95E-564E-74A8-78B0-C11C5C7887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9954" y="2240895"/>
            <a:ext cx="3263152" cy="3740357"/>
          </a:xfrm>
        </p:spPr>
        <p:txBody>
          <a:bodyPr>
            <a:normAutofit/>
          </a:bodyPr>
          <a:lstStyle>
            <a:lvl1pPr>
              <a:defRPr sz="32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FE2320D-21F5-02F6-4F6A-B59B9172F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64909404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9558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30531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65105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88143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35754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841661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817998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62913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16200000" flipH="1">
            <a:off x="4323721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502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5400000">
            <a:off x="5616997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487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image" Target="../media/image7.emf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theme" Target="../theme/theme2.xml"/><Relationship Id="rId8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image" Target="../media/image7.emf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tags" Target="../tags/tag8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theme" Target="../theme/theme4.xml"/><Relationship Id="rId8" Type="http://schemas.openxmlformats.org/officeDocument/2006/relationships/slideLayout" Target="../slideLayouts/slideLayout8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image" Target="../media/image10.png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18043"/>
            <a:ext cx="10896599" cy="41632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2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9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  <p:sp>
        <p:nvSpPr>
          <p:cNvPr id="36" name="Espace réservé du titre 35">
            <a:extLst>
              <a:ext uri="{FF2B5EF4-FFF2-40B4-BE49-F238E27FC236}">
                <a16:creationId xmlns:a16="http://schemas.microsoft.com/office/drawing/2014/main" id="{F5F19FC6-14D0-8387-FE3D-9C988F406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089659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035448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3" r:id="rId3"/>
    <p:sldLayoutId id="2147483661" r:id="rId4"/>
    <p:sldLayoutId id="2147483668" r:id="rId5"/>
    <p:sldLayoutId id="2147483678" r:id="rId6"/>
    <p:sldLayoutId id="2147483664" r:id="rId7"/>
    <p:sldLayoutId id="2147483665" r:id="rId8"/>
    <p:sldLayoutId id="2147483669" r:id="rId9"/>
    <p:sldLayoutId id="2147483679" r:id="rId10"/>
    <p:sldLayoutId id="2147483660" r:id="rId11"/>
    <p:sldLayoutId id="2147483670" r:id="rId12"/>
    <p:sldLayoutId id="2147483655" r:id="rId13"/>
    <p:sldLayoutId id="2147483654" r:id="rId14"/>
    <p:sldLayoutId id="2147483676" r:id="rId15"/>
    <p:sldLayoutId id="2147483677" r:id="rId16"/>
    <p:sldLayoutId id="2147483708" r:id="rId17"/>
    <p:sldLayoutId id="2147483715" r:id="rId18"/>
    <p:sldLayoutId id="2147483717" r:id="rId19"/>
    <p:sldLayoutId id="2147483720" r:id="rId2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i="0" kern="1200">
          <a:solidFill>
            <a:srgbClr val="25485A"/>
          </a:solidFill>
          <a:latin typeface="Somfy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1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51F7974-3CC6-4D11-8385-ED12781B8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87199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53" imgH="353" progId="TCLayout.ActiveDocument.1">
                  <p:embed/>
                </p:oleObj>
              </mc:Choice>
              <mc:Fallback>
                <p:oleObj name="think-cell Slide" r:id="rId32" imgW="353" imgH="35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51F7974-3CC6-4D11-8385-ED12781B8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1331664" y="-698217"/>
            <a:ext cx="884419" cy="36000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anose="00000500000000000000" pitchFamily="50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706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  <p:sldLayoutId id="2147483755" r:id="rId22"/>
    <p:sldLayoutId id="2147483756" r:id="rId23"/>
    <p:sldLayoutId id="2147483757" r:id="rId24"/>
    <p:sldLayoutId id="2147483758" r:id="rId25"/>
    <p:sldLayoutId id="2147483759" r:id="rId26"/>
    <p:sldLayoutId id="2147483760" r:id="rId27"/>
    <p:sldLayoutId id="2147483761" r:id="rId28"/>
    <p:sldLayoutId id="2147483762" r:id="rId2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0" i="0" kern="1200">
          <a:solidFill>
            <a:schemeClr val="accent1"/>
          </a:solidFill>
          <a:latin typeface="Somfy Sans" panose="00000500000000000000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500228" y="129361"/>
            <a:ext cx="884419" cy="1944845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487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  <p:sldLayoutId id="2147483788" r:id="rId2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600" b="0" i="0" kern="1200">
          <a:solidFill>
            <a:schemeClr val="accent1"/>
          </a:solidFill>
          <a:latin typeface="Somfy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51F7974-3CC6-4D11-8385-ED12781B8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87199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53" imgH="353" progId="TCLayout.ActiveDocument.1">
                  <p:embed/>
                </p:oleObj>
              </mc:Choice>
              <mc:Fallback>
                <p:oleObj name="think-cell Slide" r:id="rId32" imgW="353" imgH="35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51F7974-3CC6-4D11-8385-ED12781B8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1331664" y="-698217"/>
            <a:ext cx="884419" cy="36000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anose="00000500000000000000" pitchFamily="50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38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31" r:id="rId15"/>
    <p:sldLayoutId id="2147483832" r:id="rId16"/>
    <p:sldLayoutId id="2147483833" r:id="rId17"/>
    <p:sldLayoutId id="2147483834" r:id="rId18"/>
    <p:sldLayoutId id="2147483835" r:id="rId19"/>
    <p:sldLayoutId id="2147483836" r:id="rId20"/>
    <p:sldLayoutId id="2147483837" r:id="rId21"/>
    <p:sldLayoutId id="2147483838" r:id="rId22"/>
    <p:sldLayoutId id="2147483839" r:id="rId23"/>
    <p:sldLayoutId id="2147483840" r:id="rId24"/>
    <p:sldLayoutId id="2147483841" r:id="rId25"/>
    <p:sldLayoutId id="2147483842" r:id="rId26"/>
    <p:sldLayoutId id="2147483843" r:id="rId27"/>
    <p:sldLayoutId id="2147483844" r:id="rId28"/>
    <p:sldLayoutId id="2147483845" r:id="rId2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0" i="0" kern="1200">
          <a:solidFill>
            <a:schemeClr val="accent1"/>
          </a:solidFill>
          <a:latin typeface="Somfy Sans" panose="00000500000000000000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18043"/>
            <a:ext cx="10896599" cy="41632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2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9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  <p:sp>
        <p:nvSpPr>
          <p:cNvPr id="36" name="Espace réservé du titre 35">
            <a:extLst>
              <a:ext uri="{FF2B5EF4-FFF2-40B4-BE49-F238E27FC236}">
                <a16:creationId xmlns:a16="http://schemas.microsoft.com/office/drawing/2014/main" id="{F5F19FC6-14D0-8387-FE3D-9C988F406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089659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878083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  <p:sldLayoutId id="2147483850" r:id="rId4"/>
    <p:sldLayoutId id="2147483851" r:id="rId5"/>
    <p:sldLayoutId id="2147483852" r:id="rId6"/>
    <p:sldLayoutId id="2147483853" r:id="rId7"/>
    <p:sldLayoutId id="2147483854" r:id="rId8"/>
    <p:sldLayoutId id="2147483855" r:id="rId9"/>
    <p:sldLayoutId id="2147483856" r:id="rId10"/>
    <p:sldLayoutId id="2147483857" r:id="rId11"/>
    <p:sldLayoutId id="2147483858" r:id="rId12"/>
    <p:sldLayoutId id="2147483859" r:id="rId13"/>
    <p:sldLayoutId id="2147483860" r:id="rId14"/>
    <p:sldLayoutId id="2147483861" r:id="rId15"/>
    <p:sldLayoutId id="2147483862" r:id="rId1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i="0" kern="1200">
          <a:solidFill>
            <a:schemeClr val="accent1"/>
          </a:solidFill>
          <a:latin typeface="Somfy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1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9.xml"/><Relationship Id="rId4" Type="http://schemas.openxmlformats.org/officeDocument/2006/relationships/image" Target="../media/image14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3" Type="http://schemas.openxmlformats.org/officeDocument/2006/relationships/image" Target="../media/image15.jpeg"/><Relationship Id="rId21" Type="http://schemas.openxmlformats.org/officeDocument/2006/relationships/image" Target="../media/image33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1" Type="http://schemas.openxmlformats.org/officeDocument/2006/relationships/slideLayout" Target="../slideLayouts/slideLayout112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jpeg"/><Relationship Id="rId15" Type="http://schemas.openxmlformats.org/officeDocument/2006/relationships/image" Target="../media/image27.png"/><Relationship Id="rId10" Type="http://schemas.openxmlformats.org/officeDocument/2006/relationships/image" Target="../media/image22.png"/><Relationship Id="rId19" Type="http://schemas.openxmlformats.org/officeDocument/2006/relationships/image" Target="../media/image31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2318350-DA3D-B124-4C0C-AC4DDEAD5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256" y="2315255"/>
            <a:ext cx="3680224" cy="2227490"/>
          </a:xfrm>
        </p:spPr>
        <p:txBody>
          <a:bodyPr>
            <a:normAutofit/>
          </a:bodyPr>
          <a:lstStyle/>
          <a:p>
            <a:br>
              <a:rPr lang="fr-FR" dirty="0"/>
            </a:br>
            <a:r>
              <a:rPr lang="hu-HU" dirty="0"/>
              <a:t>J4 io </a:t>
            </a:r>
            <a:r>
              <a:rPr lang="hu-HU" dirty="0">
                <a:sym typeface="Wingdings" panose="05000000000000000000" pitchFamily="2" charset="2"/>
              </a:rPr>
              <a:t> J4S io</a:t>
            </a:r>
            <a:br>
              <a:rPr lang="hu-HU" dirty="0">
                <a:sym typeface="Wingdings" panose="05000000000000000000" pitchFamily="2" charset="2"/>
              </a:rPr>
            </a:br>
            <a:r>
              <a:rPr lang="hu-HU" dirty="0">
                <a:sym typeface="Wingdings" panose="05000000000000000000" pitchFamily="2" charset="2"/>
              </a:rPr>
              <a:t>Phase out information</a:t>
            </a:r>
            <a:endParaRPr lang="fr-FR" dirty="0"/>
          </a:p>
        </p:txBody>
      </p:sp>
      <p:pic>
        <p:nvPicPr>
          <p:cNvPr id="6" name="Espace réservé pour une image  5">
            <a:extLst>
              <a:ext uri="{FF2B5EF4-FFF2-40B4-BE49-F238E27FC236}">
                <a16:creationId xmlns:a16="http://schemas.microsoft.com/office/drawing/2014/main" id="{B318AB65-64E6-154D-456F-8EF3AACDFC5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43073" y="0"/>
            <a:ext cx="9548927" cy="6858000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994033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DE4BC66-C15D-6915-54D4-E784CC70D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2C464D"/>
              </a:solidFill>
              <a:effectLst/>
              <a:uLnTx/>
              <a:uFillTx/>
              <a:latin typeface="Somfy Sans" pitchFamily="2" charset="0"/>
              <a:ea typeface="+mn-ea"/>
              <a:cs typeface="+mn-cs"/>
            </a:endParaRP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C2659FE1-FBEE-3C18-1102-8CBC93E9E6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7F0C63-9D9F-2642-9BE6-825938832B4F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2C464D"/>
                </a:solidFill>
                <a:effectLst/>
                <a:uLnTx/>
                <a:uFillTx/>
                <a:latin typeface="Somfy Sans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2C464D"/>
              </a:solidFill>
              <a:effectLst/>
              <a:uLnTx/>
              <a:uFillTx/>
              <a:latin typeface="Somfy Sans" pitchFamily="2" charset="0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B86F17F2-1711-7530-762C-EF8E8626EDC9}"/>
              </a:ext>
            </a:extLst>
          </p:cNvPr>
          <p:cNvSpPr txBox="1">
            <a:spLocks/>
          </p:cNvSpPr>
          <p:nvPr/>
        </p:nvSpPr>
        <p:spPr>
          <a:xfrm rot="5400000">
            <a:off x="1473008" y="-1300118"/>
            <a:ext cx="990985" cy="3937003"/>
          </a:xfrm>
          <a:prstGeom prst="round2SameRect">
            <a:avLst>
              <a:gd name="adj1" fmla="val 48876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000" b="1" i="0" u="none" strike="noStrike" kern="1200" cap="none" spc="0" normalizeH="0" baseline="0" noProof="0">
                <a:ln>
                  <a:noFill/>
                </a:ln>
                <a:solidFill>
                  <a:srgbClr val="485C74"/>
                </a:solidFill>
                <a:effectLst/>
                <a:uLnTx/>
                <a:uFillTx/>
                <a:ea typeface="+mj-ea"/>
                <a:cs typeface="Calibri Light" panose="020F0302020204030204" pitchFamily="34" charset="0"/>
              </a:rPr>
              <a:t>Comparison</a:t>
            </a:r>
            <a:endParaRPr kumimoji="0" lang="fr-FR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mfy Sans" pitchFamily="2" charset="0"/>
              <a:ea typeface="+mj-ea"/>
              <a:cs typeface="+mj-cs"/>
            </a:endParaRPr>
          </a:p>
        </p:txBody>
      </p:sp>
      <p:cxnSp>
        <p:nvCxnSpPr>
          <p:cNvPr id="5" name="Connecteur droit 2">
            <a:extLst>
              <a:ext uri="{FF2B5EF4-FFF2-40B4-BE49-F238E27FC236}">
                <a16:creationId xmlns:a16="http://schemas.microsoft.com/office/drawing/2014/main" id="{B18F8B5D-CB20-DE08-EBB5-D68EE2BCB54A}"/>
              </a:ext>
            </a:extLst>
          </p:cNvPr>
          <p:cNvCxnSpPr>
            <a:cxnSpLocks/>
          </p:cNvCxnSpPr>
          <p:nvPr/>
        </p:nvCxnSpPr>
        <p:spPr>
          <a:xfrm>
            <a:off x="6313240" y="0"/>
            <a:ext cx="0" cy="6858000"/>
          </a:xfrm>
          <a:prstGeom prst="line">
            <a:avLst/>
          </a:prstGeom>
          <a:noFill/>
          <a:ln w="12700" cap="flat" cmpd="sng" algn="ctr">
            <a:solidFill>
              <a:srgbClr val="667983"/>
            </a:solidFill>
            <a:prstDash val="dash"/>
            <a:miter lim="800000"/>
          </a:ln>
          <a:effectLst/>
        </p:spPr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6EC7619D-5CC1-56DE-6C9A-75493AB73CDD}"/>
              </a:ext>
            </a:extLst>
          </p:cNvPr>
          <p:cNvSpPr/>
          <p:nvPr/>
        </p:nvSpPr>
        <p:spPr>
          <a:xfrm>
            <a:off x="1316928" y="245360"/>
            <a:ext cx="4745885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5484F"/>
                </a:solidFill>
                <a:effectLst/>
                <a:uLnTx/>
                <a:uFillTx/>
                <a:latin typeface="Somfy Sans" panose="00000500000000000000" pitchFamily="50" charset="0"/>
                <a:ea typeface="+mn-ea"/>
                <a:cs typeface="+mn-cs"/>
              </a:rPr>
              <a:t>J4 io protect</a:t>
            </a:r>
            <a:endParaRPr kumimoji="0" lang="fr-FR" sz="1800" b="1" i="0" u="none" strike="noStrike" kern="1200" cap="none" spc="0" normalizeH="0" baseline="0" noProof="0">
              <a:ln>
                <a:noFill/>
              </a:ln>
              <a:solidFill>
                <a:srgbClr val="25484F"/>
              </a:solidFill>
              <a:effectLst/>
              <a:uLnTx/>
              <a:uFillTx/>
              <a:latin typeface="Somfy Sans" panose="00000500000000000000" pitchFamily="50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083D6D-643A-1074-95DD-E2479EAD30A0}"/>
              </a:ext>
            </a:extLst>
          </p:cNvPr>
          <p:cNvSpPr/>
          <p:nvPr/>
        </p:nvSpPr>
        <p:spPr>
          <a:xfrm>
            <a:off x="6506315" y="238312"/>
            <a:ext cx="4745885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5484F"/>
                </a:solidFill>
                <a:effectLst/>
                <a:uLnTx/>
                <a:uFillTx/>
                <a:latin typeface="Somfy Sans" panose="00000500000000000000" pitchFamily="50" charset="0"/>
                <a:ea typeface="+mn-ea"/>
                <a:cs typeface="+mn-cs"/>
              </a:rPr>
              <a:t>J4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AB800"/>
                </a:solidFill>
                <a:effectLst/>
                <a:uLnTx/>
                <a:uFillTx/>
                <a:latin typeface="Somfy Sans" panose="00000500000000000000" pitchFamily="50" charset="0"/>
                <a:ea typeface="+mn-ea"/>
                <a:cs typeface="+mn-cs"/>
              </a:rPr>
              <a:t>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5484F"/>
                </a:solidFill>
                <a:effectLst/>
                <a:uLnTx/>
                <a:uFillTx/>
                <a:latin typeface="Somfy Sans" panose="00000500000000000000" pitchFamily="50" charset="0"/>
                <a:ea typeface="+mn-ea"/>
                <a:cs typeface="+mn-cs"/>
              </a:rPr>
              <a:t> io protect</a:t>
            </a:r>
            <a:r>
              <a:rPr kumimoji="0" lang="hu-HU" sz="1800" b="0" i="0" u="none" strike="noStrike" kern="1200" cap="none" spc="0" normalizeH="0" baseline="0" noProof="0" dirty="0">
                <a:ln>
                  <a:noFill/>
                </a:ln>
                <a:solidFill>
                  <a:srgbClr val="25484F"/>
                </a:solidFill>
                <a:effectLst/>
                <a:uLnTx/>
                <a:uFillTx/>
                <a:latin typeface="Somfy Sans" panose="00000500000000000000" pitchFamily="50" charset="0"/>
                <a:ea typeface="+mn-ea"/>
                <a:cs typeface="+mn-cs"/>
              </a:rPr>
              <a:t> </a:t>
            </a:r>
            <a:r>
              <a:rPr lang="hu-HU" b="1" dirty="0">
                <a:solidFill>
                  <a:srgbClr val="FAB800"/>
                </a:solidFill>
              </a:rPr>
              <a:t>with silent movement</a:t>
            </a:r>
            <a:endParaRPr lang="fr-FR" b="1" dirty="0">
              <a:solidFill>
                <a:srgbClr val="FAB800"/>
              </a:solidFill>
              <a:latin typeface="Somfy Sans" panose="00000500000000000000" pitchFamily="50" charset="0"/>
            </a:endParaRPr>
          </a:p>
        </p:txBody>
      </p:sp>
      <p:pic>
        <p:nvPicPr>
          <p:cNvPr id="9" name="Image 5" descr="Une image contenant Pièce auto, outil&#10;&#10;Description générée automatiquement">
            <a:extLst>
              <a:ext uri="{FF2B5EF4-FFF2-40B4-BE49-F238E27FC236}">
                <a16:creationId xmlns:a16="http://schemas.microsoft.com/office/drawing/2014/main" id="{C4F5879C-470F-660B-037F-59FFA4C70615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6952" y="3367076"/>
            <a:ext cx="2717910" cy="1528824"/>
          </a:xfrm>
          <a:prstGeom prst="rect">
            <a:avLst/>
          </a:prstGeom>
        </p:spPr>
      </p:pic>
      <p:pic>
        <p:nvPicPr>
          <p:cNvPr id="10" name="Image 6">
            <a:extLst>
              <a:ext uri="{FF2B5EF4-FFF2-40B4-BE49-F238E27FC236}">
                <a16:creationId xmlns:a16="http://schemas.microsoft.com/office/drawing/2014/main" id="{D2CBAC0D-1517-2C70-B5FA-794F836F9E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3290" y="3655816"/>
            <a:ext cx="1985376" cy="955585"/>
          </a:xfrm>
          <a:prstGeom prst="rect">
            <a:avLst/>
          </a:prstGeom>
        </p:spPr>
      </p:pic>
      <p:pic>
        <p:nvPicPr>
          <p:cNvPr id="11" name="Image 7" descr="Une image contenant cylindre, câble, léger&#10;&#10;Description générée automatiquement">
            <a:extLst>
              <a:ext uri="{FF2B5EF4-FFF2-40B4-BE49-F238E27FC236}">
                <a16:creationId xmlns:a16="http://schemas.microsoft.com/office/drawing/2014/main" id="{B7F0007B-BD89-1A68-CDCD-09EF79FFF7C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47"/>
          <a:stretch/>
        </p:blipFill>
        <p:spPr>
          <a:xfrm>
            <a:off x="7590089" y="1873064"/>
            <a:ext cx="3557622" cy="2162178"/>
          </a:xfrm>
          <a:prstGeom prst="rect">
            <a:avLst/>
          </a:prstGeom>
        </p:spPr>
      </p:pic>
      <p:pic>
        <p:nvPicPr>
          <p:cNvPr id="12" name="Image 8">
            <a:extLst>
              <a:ext uri="{FF2B5EF4-FFF2-40B4-BE49-F238E27FC236}">
                <a16:creationId xmlns:a16="http://schemas.microsoft.com/office/drawing/2014/main" id="{D275F0B1-B21F-8427-0F8A-A697A841C3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6787747" y="2404265"/>
            <a:ext cx="824267" cy="715595"/>
          </a:xfrm>
          <a:prstGeom prst="rect">
            <a:avLst/>
          </a:prstGeom>
        </p:spPr>
      </p:pic>
      <p:pic>
        <p:nvPicPr>
          <p:cNvPr id="13" name="Image 9">
            <a:extLst>
              <a:ext uri="{FF2B5EF4-FFF2-40B4-BE49-F238E27FC236}">
                <a16:creationId xmlns:a16="http://schemas.microsoft.com/office/drawing/2014/main" id="{C06761DD-A093-FC52-E3FA-0489B06F61A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5114" b="6156"/>
          <a:stretch/>
        </p:blipFill>
        <p:spPr>
          <a:xfrm>
            <a:off x="3890438" y="2286982"/>
            <a:ext cx="1276529" cy="203068"/>
          </a:xfrm>
          <a:prstGeom prst="rect">
            <a:avLst/>
          </a:prstGeom>
        </p:spPr>
      </p:pic>
      <p:pic>
        <p:nvPicPr>
          <p:cNvPr id="14" name="Image 10">
            <a:extLst>
              <a:ext uri="{FF2B5EF4-FFF2-40B4-BE49-F238E27FC236}">
                <a16:creationId xmlns:a16="http://schemas.microsoft.com/office/drawing/2014/main" id="{A3C7E453-1DEF-2AB0-3BDD-E918B319D32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2364" y="2329977"/>
            <a:ext cx="2959050" cy="1075161"/>
          </a:xfrm>
          <a:prstGeom prst="rect">
            <a:avLst/>
          </a:prstGeom>
        </p:spPr>
      </p:pic>
      <p:pic>
        <p:nvPicPr>
          <p:cNvPr id="15" name="Image 1">
            <a:extLst>
              <a:ext uri="{FF2B5EF4-FFF2-40B4-BE49-F238E27FC236}">
                <a16:creationId xmlns:a16="http://schemas.microsoft.com/office/drawing/2014/main" id="{6BA5AF52-010D-BE75-F12F-F34F825D78C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-617" t="27460" r="57474" b="30112"/>
          <a:stretch/>
        </p:blipFill>
        <p:spPr>
          <a:xfrm>
            <a:off x="1835784" y="3410115"/>
            <a:ext cx="1854087" cy="1337843"/>
          </a:xfrm>
          <a:prstGeom prst="ellipse">
            <a:avLst/>
          </a:prstGeom>
          <a:ln w="19050">
            <a:solidFill>
              <a:srgbClr val="25485A"/>
            </a:solidFill>
          </a:ln>
        </p:spPr>
      </p:pic>
      <p:pic>
        <p:nvPicPr>
          <p:cNvPr id="16" name="Image 11">
            <a:extLst>
              <a:ext uri="{FF2B5EF4-FFF2-40B4-BE49-F238E27FC236}">
                <a16:creationId xmlns:a16="http://schemas.microsoft.com/office/drawing/2014/main" id="{0ED46AE4-9D92-131C-53B8-D3068CE6A3C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7146" t="27958" r="46157" b="27465"/>
          <a:stretch/>
        </p:blipFill>
        <p:spPr>
          <a:xfrm>
            <a:off x="6609140" y="3410116"/>
            <a:ext cx="1696453" cy="1337843"/>
          </a:xfrm>
          <a:prstGeom prst="ellipse">
            <a:avLst/>
          </a:prstGeom>
        </p:spPr>
      </p:pic>
      <p:cxnSp>
        <p:nvCxnSpPr>
          <p:cNvPr id="17" name="Connecteur droit avec flèche 12">
            <a:extLst>
              <a:ext uri="{FF2B5EF4-FFF2-40B4-BE49-F238E27FC236}">
                <a16:creationId xmlns:a16="http://schemas.microsoft.com/office/drawing/2014/main" id="{D1E24326-5972-45E9-6D59-849C9935E39D}"/>
              </a:ext>
            </a:extLst>
          </p:cNvPr>
          <p:cNvCxnSpPr>
            <a:cxnSpLocks/>
            <a:stCxn id="48" idx="2"/>
            <a:endCxn id="15" idx="6"/>
          </p:cNvCxnSpPr>
          <p:nvPr/>
        </p:nvCxnSpPr>
        <p:spPr>
          <a:xfrm flipH="1" flipV="1">
            <a:off x="3689871" y="4079037"/>
            <a:ext cx="490474" cy="19085"/>
          </a:xfrm>
          <a:prstGeom prst="straightConnector1">
            <a:avLst/>
          </a:prstGeom>
          <a:noFill/>
          <a:ln w="19050" cap="flat" cmpd="sng" algn="ctr">
            <a:solidFill>
              <a:srgbClr val="25485A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8" name="Connecteur droit avec flèche 14">
            <a:extLst>
              <a:ext uri="{FF2B5EF4-FFF2-40B4-BE49-F238E27FC236}">
                <a16:creationId xmlns:a16="http://schemas.microsoft.com/office/drawing/2014/main" id="{98AB61E8-FC27-B67E-7B6F-9FD492614943}"/>
              </a:ext>
            </a:extLst>
          </p:cNvPr>
          <p:cNvCxnSpPr>
            <a:cxnSpLocks/>
            <a:endCxn id="16" idx="6"/>
          </p:cNvCxnSpPr>
          <p:nvPr/>
        </p:nvCxnSpPr>
        <p:spPr>
          <a:xfrm flipH="1" flipV="1">
            <a:off x="8305593" y="4079038"/>
            <a:ext cx="318724" cy="81868"/>
          </a:xfrm>
          <a:prstGeom prst="straightConnector1">
            <a:avLst/>
          </a:prstGeom>
          <a:noFill/>
          <a:ln w="19050" cap="flat" cmpd="sng" algn="ctr">
            <a:solidFill>
              <a:srgbClr val="25485A"/>
            </a:solidFill>
            <a:prstDash val="solid"/>
            <a:miter lim="800000"/>
            <a:tailEnd type="none"/>
          </a:ln>
          <a:effectLst/>
        </p:spPr>
      </p:cxnSp>
      <p:sp>
        <p:nvSpPr>
          <p:cNvPr id="19" name="ZoneTexte 17">
            <a:extLst>
              <a:ext uri="{FF2B5EF4-FFF2-40B4-BE49-F238E27FC236}">
                <a16:creationId xmlns:a16="http://schemas.microsoft.com/office/drawing/2014/main" id="{695A7A64-B7F4-02CE-47F9-7BCD9C54B1E7}"/>
              </a:ext>
            </a:extLst>
          </p:cNvPr>
          <p:cNvSpPr txBox="1"/>
          <p:nvPr/>
        </p:nvSpPr>
        <p:spPr>
          <a:xfrm>
            <a:off x="1346200" y="4976552"/>
            <a:ext cx="497505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115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Power Supply: 230V - 50Hz</a:t>
            </a:r>
            <a:endParaRPr kumimoji="0" lang="pl-PL" altLang="en-US" sz="1400" b="0" i="0" u="none" strike="noStrike" kern="0" cap="none" spc="0" normalizeH="0" baseline="0" noProof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  <a:p>
            <a:pPr marL="6115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Motor output speed: </a:t>
            </a: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24 RPM </a:t>
            </a:r>
          </a:p>
          <a:p>
            <a:pPr marL="6115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Range: </a:t>
            </a:r>
            <a:r>
              <a:rPr kumimoji="0" lang="en-US" altLang="en-US" sz="1400" b="1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6</a:t>
            </a: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Nm</a:t>
            </a: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, </a:t>
            </a:r>
            <a:r>
              <a:rPr kumimoji="0" lang="en-US" altLang="en-US" sz="1400" b="1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10</a:t>
            </a: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Nm &amp; </a:t>
            </a:r>
            <a:r>
              <a:rPr kumimoji="0" lang="en-US" altLang="en-US" sz="1400" b="1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18</a:t>
            </a: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Nm</a:t>
            </a:r>
          </a:p>
          <a:p>
            <a:pPr marL="6115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Removable cable 0,5m or 0,9m</a:t>
            </a:r>
          </a:p>
        </p:txBody>
      </p:sp>
      <p:sp>
        <p:nvSpPr>
          <p:cNvPr id="20" name="ZoneTexte 18">
            <a:extLst>
              <a:ext uri="{FF2B5EF4-FFF2-40B4-BE49-F238E27FC236}">
                <a16:creationId xmlns:a16="http://schemas.microsoft.com/office/drawing/2014/main" id="{667D872B-8643-CE90-4BC6-138261F61EF7}"/>
              </a:ext>
            </a:extLst>
          </p:cNvPr>
          <p:cNvSpPr txBox="1"/>
          <p:nvPr/>
        </p:nvSpPr>
        <p:spPr>
          <a:xfrm>
            <a:off x="6313240" y="4976552"/>
            <a:ext cx="480260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115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Power Supply: 230V - 50Hz</a:t>
            </a:r>
            <a:endParaRPr kumimoji="0" lang="pl-PL" altLang="en-US" sz="1400" b="0" i="0" u="none" strike="noStrike" kern="0" cap="none" spc="0" normalizeH="0" baseline="0" noProof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  <a:p>
            <a:pPr marL="6115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Motor output speed: </a:t>
            </a: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24 RPM </a:t>
            </a:r>
          </a:p>
          <a:p>
            <a:pPr marL="6115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Range: </a:t>
            </a:r>
            <a:r>
              <a:rPr kumimoji="0" lang="en-US" altLang="en-US" sz="1400" b="1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6</a:t>
            </a: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Nm</a:t>
            </a: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 &amp; </a:t>
            </a:r>
            <a:r>
              <a:rPr kumimoji="0" lang="en-US" altLang="en-US" sz="1400" b="1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10</a:t>
            </a: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Nm</a:t>
            </a:r>
          </a:p>
          <a:p>
            <a:pPr marL="6115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Unremovable cable 0,5m or 0,9m</a:t>
            </a:r>
          </a:p>
        </p:txBody>
      </p:sp>
      <p:pic>
        <p:nvPicPr>
          <p:cNvPr id="21" name="Image 19" descr="Une image contenant logo, Rectangle, capture d’écran, ligne&#10;&#10;Description générée automatiquement">
            <a:extLst>
              <a:ext uri="{FF2B5EF4-FFF2-40B4-BE49-F238E27FC236}">
                <a16:creationId xmlns:a16="http://schemas.microsoft.com/office/drawing/2014/main" id="{579C5E21-9401-FC6A-8879-5A6BA8CF2DE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223" y="6037475"/>
            <a:ext cx="744800" cy="684000"/>
          </a:xfrm>
          <a:prstGeom prst="rect">
            <a:avLst/>
          </a:prstGeom>
        </p:spPr>
      </p:pic>
      <p:pic>
        <p:nvPicPr>
          <p:cNvPr id="22" name="Image 20" descr="Une image contenant logo, ligne, symbole, capture d’écran&#10;&#10;Description générée automatiquement">
            <a:extLst>
              <a:ext uri="{FF2B5EF4-FFF2-40B4-BE49-F238E27FC236}">
                <a16:creationId xmlns:a16="http://schemas.microsoft.com/office/drawing/2014/main" id="{0D589E76-F999-F51D-FAB4-7DA2FBAAAC6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919" y="6037475"/>
            <a:ext cx="733176" cy="684000"/>
          </a:xfrm>
          <a:prstGeom prst="rect">
            <a:avLst/>
          </a:prstGeom>
        </p:spPr>
      </p:pic>
      <p:pic>
        <p:nvPicPr>
          <p:cNvPr id="23" name="Image 21" descr="Une image contenant logo, symbole, Graphique, capture d’écran&#10;&#10;Description générée automatiquement">
            <a:extLst>
              <a:ext uri="{FF2B5EF4-FFF2-40B4-BE49-F238E27FC236}">
                <a16:creationId xmlns:a16="http://schemas.microsoft.com/office/drawing/2014/main" id="{41086DDA-683E-E05E-A8D0-1814E1333B2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7509" y="6037475"/>
            <a:ext cx="697325" cy="684000"/>
          </a:xfrm>
          <a:prstGeom prst="rect">
            <a:avLst/>
          </a:prstGeom>
        </p:spPr>
      </p:pic>
      <p:pic>
        <p:nvPicPr>
          <p:cNvPr id="24" name="Image 22" descr="Une image contenant logo, Rectangle, capture d’écran, ligne&#10;&#10;Description générée automatiquement">
            <a:extLst>
              <a:ext uri="{FF2B5EF4-FFF2-40B4-BE49-F238E27FC236}">
                <a16:creationId xmlns:a16="http://schemas.microsoft.com/office/drawing/2014/main" id="{5E035959-F59C-580D-E782-457BC75740A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006" y="6037475"/>
            <a:ext cx="744800" cy="684000"/>
          </a:xfrm>
          <a:prstGeom prst="rect">
            <a:avLst/>
          </a:prstGeom>
        </p:spPr>
      </p:pic>
      <p:pic>
        <p:nvPicPr>
          <p:cNvPr id="25" name="Image 23" descr="Une image contenant logo, ligne, symbole, capture d’écran&#10;&#10;Description générée automatiquement">
            <a:extLst>
              <a:ext uri="{FF2B5EF4-FFF2-40B4-BE49-F238E27FC236}">
                <a16:creationId xmlns:a16="http://schemas.microsoft.com/office/drawing/2014/main" id="{D2B7534F-69B1-1EE5-9EC7-4B936CCAC25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7702" y="6037475"/>
            <a:ext cx="733176" cy="684000"/>
          </a:xfrm>
          <a:prstGeom prst="rect">
            <a:avLst/>
          </a:prstGeom>
        </p:spPr>
      </p:pic>
      <p:pic>
        <p:nvPicPr>
          <p:cNvPr id="26" name="Image 24" descr="Une image contenant logo, symbole, Graphique, capture d’écran&#10;&#10;Description générée automatiquement">
            <a:extLst>
              <a:ext uri="{FF2B5EF4-FFF2-40B4-BE49-F238E27FC236}">
                <a16:creationId xmlns:a16="http://schemas.microsoft.com/office/drawing/2014/main" id="{7AE8CC1F-4E58-90F8-5CB1-1A8E938A8F2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2292" y="6037475"/>
            <a:ext cx="697325" cy="684000"/>
          </a:xfrm>
          <a:prstGeom prst="rect">
            <a:avLst/>
          </a:prstGeom>
        </p:spPr>
      </p:pic>
      <p:pic>
        <p:nvPicPr>
          <p:cNvPr id="27" name="Obraz 24">
            <a:extLst>
              <a:ext uri="{FF2B5EF4-FFF2-40B4-BE49-F238E27FC236}">
                <a16:creationId xmlns:a16="http://schemas.microsoft.com/office/drawing/2014/main" id="{3AF9D7C0-5C7B-2201-428D-B6D2365D55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851"/>
          <a:stretch>
            <a:fillRect/>
          </a:stretch>
        </p:blipFill>
        <p:spPr bwMode="auto">
          <a:xfrm>
            <a:off x="5125978" y="5082277"/>
            <a:ext cx="735994" cy="742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Obraz 24">
            <a:extLst>
              <a:ext uri="{FF2B5EF4-FFF2-40B4-BE49-F238E27FC236}">
                <a16:creationId xmlns:a16="http://schemas.microsoft.com/office/drawing/2014/main" id="{0D497103-F0B7-66D5-B44C-5504E6AEDF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851"/>
          <a:stretch>
            <a:fillRect/>
          </a:stretch>
        </p:blipFill>
        <p:spPr bwMode="auto">
          <a:xfrm>
            <a:off x="10070963" y="5080638"/>
            <a:ext cx="735994" cy="742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Obraz 5">
            <a:extLst>
              <a:ext uri="{FF2B5EF4-FFF2-40B4-BE49-F238E27FC236}">
                <a16:creationId xmlns:a16="http://schemas.microsoft.com/office/drawing/2014/main" id="{7DDE30CF-87FA-3ED0-FCAF-72B55A6A79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5664" y="894062"/>
            <a:ext cx="756000" cy="75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Obraz 4">
            <a:extLst>
              <a:ext uri="{FF2B5EF4-FFF2-40B4-BE49-F238E27FC236}">
                <a16:creationId xmlns:a16="http://schemas.microsoft.com/office/drawing/2014/main" id="{C4D4F088-0207-DAEC-77BD-E96B6C851F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958" y="894953"/>
            <a:ext cx="735755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Obraz 7">
            <a:extLst>
              <a:ext uri="{FF2B5EF4-FFF2-40B4-BE49-F238E27FC236}">
                <a16:creationId xmlns:a16="http://schemas.microsoft.com/office/drawing/2014/main" id="{4686EF50-81C3-7B8F-D424-BDA67D1497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03"/>
          <a:stretch>
            <a:fillRect/>
          </a:stretch>
        </p:blipFill>
        <p:spPr bwMode="auto">
          <a:xfrm>
            <a:off x="2654495" y="894062"/>
            <a:ext cx="713710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ext Box 8">
            <a:extLst>
              <a:ext uri="{FF2B5EF4-FFF2-40B4-BE49-F238E27FC236}">
                <a16:creationId xmlns:a16="http://schemas.microsoft.com/office/drawing/2014/main" id="{1B3A932E-92FE-5A55-6272-0CE90DA541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68027" y="1585930"/>
            <a:ext cx="987616" cy="500149"/>
          </a:xfrm>
          <a:prstGeom prst="rect">
            <a:avLst/>
          </a:prstGeom>
          <a:noFill/>
          <a:ln>
            <a:noFill/>
          </a:ln>
        </p:spPr>
        <p:txBody>
          <a:bodyPr wrap="square" lIns="90000" tIns="55584" rIns="90000" bIns="4500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8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4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0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panose="02020603050405020304" pitchFamily="18" charset="0"/>
              <a:buNone/>
              <a:tabLst>
                <a:tab pos="723900" algn="l"/>
                <a:tab pos="1447800" algn="l"/>
              </a:tabLst>
              <a:defRPr/>
            </a:pPr>
            <a:r>
              <a:rPr kumimoji="0" lang="fr-F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Obstacle </a:t>
            </a:r>
            <a:r>
              <a:rPr kumimoji="0" lang="fr-FR" alt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detection</a:t>
            </a:r>
            <a:endParaRPr kumimoji="0" lang="fr-FR" altLang="en-US" sz="1200" b="0" i="0" u="none" strike="noStrike" kern="1200" cap="none" spc="0" normalizeH="0" baseline="0" noProof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</p:txBody>
      </p:sp>
      <p:sp>
        <p:nvSpPr>
          <p:cNvPr id="33" name="Text Box 8">
            <a:extLst>
              <a:ext uri="{FF2B5EF4-FFF2-40B4-BE49-F238E27FC236}">
                <a16:creationId xmlns:a16="http://schemas.microsoft.com/office/drawing/2014/main" id="{DC68FC56-2479-6258-03E7-368B1E695A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55176" y="1585930"/>
            <a:ext cx="987616" cy="500149"/>
          </a:xfrm>
          <a:prstGeom prst="rect">
            <a:avLst/>
          </a:prstGeom>
          <a:noFill/>
          <a:ln>
            <a:noFill/>
          </a:ln>
        </p:spPr>
        <p:txBody>
          <a:bodyPr wrap="square" lIns="90000" tIns="55584" rIns="90000" bIns="4500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8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4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0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panose="02020603050405020304" pitchFamily="18" charset="0"/>
              <a:buNone/>
              <a:tabLst>
                <a:tab pos="723900" algn="l"/>
                <a:tab pos="1447800" algn="l"/>
              </a:tabLst>
              <a:defRPr/>
            </a:pPr>
            <a:r>
              <a:rPr kumimoji="0" lang="fr-F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Frost </a:t>
            </a:r>
            <a:r>
              <a:rPr kumimoji="0" lang="fr-FR" alt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detection</a:t>
            </a:r>
            <a:endParaRPr kumimoji="0" lang="fr-FR" altLang="en-US" sz="1200" b="0" i="0" u="none" strike="noStrike" kern="1200" cap="none" spc="0" normalizeH="0" baseline="0" noProof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</p:txBody>
      </p:sp>
      <p:sp>
        <p:nvSpPr>
          <p:cNvPr id="34" name="Text Box 8">
            <a:extLst>
              <a:ext uri="{FF2B5EF4-FFF2-40B4-BE49-F238E27FC236}">
                <a16:creationId xmlns:a16="http://schemas.microsoft.com/office/drawing/2014/main" id="{9FFE4731-FCE4-AB34-322E-B025EACB66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88525" y="1596698"/>
            <a:ext cx="990279" cy="500149"/>
          </a:xfrm>
          <a:prstGeom prst="rect">
            <a:avLst/>
          </a:prstGeom>
          <a:noFill/>
          <a:ln>
            <a:noFill/>
          </a:ln>
        </p:spPr>
        <p:txBody>
          <a:bodyPr wrap="square" lIns="0" tIns="55584" rIns="0" bIns="4500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8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4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0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panose="02020603050405020304" pitchFamily="18" charset="0"/>
              <a:buNone/>
              <a:tabLst>
                <a:tab pos="723900" algn="l"/>
                <a:tab pos="1447800" algn="l"/>
              </a:tabLst>
              <a:defRPr/>
            </a:pPr>
            <a:r>
              <a:rPr kumimoji="0" lang="fr-F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up </a:t>
            </a:r>
            <a:r>
              <a:rPr kumimoji="0" lang="fr-FR" alt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readjustment</a:t>
            </a:r>
            <a:endParaRPr kumimoji="0" lang="fr-FR" altLang="en-US" sz="1200" b="0" i="0" u="none" strike="noStrike" kern="1200" cap="none" spc="0" normalizeH="0" baseline="0" noProof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</p:txBody>
      </p:sp>
      <p:pic>
        <p:nvPicPr>
          <p:cNvPr id="35" name="Obraz 6">
            <a:extLst>
              <a:ext uri="{FF2B5EF4-FFF2-40B4-BE49-F238E27FC236}">
                <a16:creationId xmlns:a16="http://schemas.microsoft.com/office/drawing/2014/main" id="{B1837529-1FFE-9BBA-937B-EE463FFE82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987" y="894062"/>
            <a:ext cx="787894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Text Box 8">
            <a:extLst>
              <a:ext uri="{FF2B5EF4-FFF2-40B4-BE49-F238E27FC236}">
                <a16:creationId xmlns:a16="http://schemas.microsoft.com/office/drawing/2014/main" id="{03818B32-11A5-4817-779B-4CAA2D7778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54952" y="1592219"/>
            <a:ext cx="826357" cy="500149"/>
          </a:xfrm>
          <a:prstGeom prst="rect">
            <a:avLst/>
          </a:prstGeom>
          <a:noFill/>
          <a:ln>
            <a:noFill/>
          </a:ln>
        </p:spPr>
        <p:txBody>
          <a:bodyPr wrap="square" lIns="0" tIns="55584" rIns="0" bIns="4500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8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4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0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panose="02020603050405020304" pitchFamily="18" charset="0"/>
              <a:buNone/>
              <a:tabLst>
                <a:tab pos="723900" algn="l"/>
                <a:tab pos="1447800" algn="l"/>
              </a:tabLst>
              <a:defRPr/>
            </a:pPr>
            <a:r>
              <a:rPr kumimoji="0" lang="fr-F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Back release</a:t>
            </a:r>
          </a:p>
        </p:txBody>
      </p:sp>
      <p:pic>
        <p:nvPicPr>
          <p:cNvPr id="37" name="Image 44">
            <a:extLst>
              <a:ext uri="{FF2B5EF4-FFF2-40B4-BE49-F238E27FC236}">
                <a16:creationId xmlns:a16="http://schemas.microsoft.com/office/drawing/2014/main" id="{5CA008F9-FB95-AD24-E476-DC6C254AFFA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0849" y="930062"/>
            <a:ext cx="736438" cy="720000"/>
          </a:xfrm>
          <a:prstGeom prst="rect">
            <a:avLst/>
          </a:prstGeom>
        </p:spPr>
      </p:pic>
      <p:pic>
        <p:nvPicPr>
          <p:cNvPr id="38" name="Obraz 5">
            <a:extLst>
              <a:ext uri="{FF2B5EF4-FFF2-40B4-BE49-F238E27FC236}">
                <a16:creationId xmlns:a16="http://schemas.microsoft.com/office/drawing/2014/main" id="{53E77949-101B-B502-12AC-5E8F1747E8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5328" y="891172"/>
            <a:ext cx="756000" cy="75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Obraz 4">
            <a:extLst>
              <a:ext uri="{FF2B5EF4-FFF2-40B4-BE49-F238E27FC236}">
                <a16:creationId xmlns:a16="http://schemas.microsoft.com/office/drawing/2014/main" id="{CE0BB8F3-2244-FAD2-2B09-5575596F92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3622" y="892063"/>
            <a:ext cx="735755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Obraz 7">
            <a:extLst>
              <a:ext uri="{FF2B5EF4-FFF2-40B4-BE49-F238E27FC236}">
                <a16:creationId xmlns:a16="http://schemas.microsoft.com/office/drawing/2014/main" id="{2A71689A-7C68-BB96-B8A1-D4734A0F34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03"/>
          <a:stretch>
            <a:fillRect/>
          </a:stretch>
        </p:blipFill>
        <p:spPr bwMode="auto">
          <a:xfrm>
            <a:off x="7464159" y="891172"/>
            <a:ext cx="713710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Text Box 8">
            <a:extLst>
              <a:ext uri="{FF2B5EF4-FFF2-40B4-BE49-F238E27FC236}">
                <a16:creationId xmlns:a16="http://schemas.microsoft.com/office/drawing/2014/main" id="{AE95D145-180D-E0D9-69A6-F501C6688E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77691" y="1583040"/>
            <a:ext cx="987616" cy="500149"/>
          </a:xfrm>
          <a:prstGeom prst="rect">
            <a:avLst/>
          </a:prstGeom>
          <a:noFill/>
          <a:ln>
            <a:noFill/>
          </a:ln>
        </p:spPr>
        <p:txBody>
          <a:bodyPr wrap="square" lIns="90000" tIns="55584" rIns="90000" bIns="4500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8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4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0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panose="02020603050405020304" pitchFamily="18" charset="0"/>
              <a:buNone/>
              <a:tabLst>
                <a:tab pos="723900" algn="l"/>
                <a:tab pos="1447800" algn="l"/>
              </a:tabLst>
              <a:defRPr/>
            </a:pPr>
            <a:r>
              <a:rPr kumimoji="0" lang="fr-F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Obstacle </a:t>
            </a:r>
            <a:r>
              <a:rPr kumimoji="0" lang="fr-FR" alt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detection</a:t>
            </a:r>
            <a:endParaRPr kumimoji="0" lang="fr-FR" altLang="en-US" sz="1200" b="0" i="0" u="none" strike="noStrike" kern="1200" cap="none" spc="0" normalizeH="0" baseline="0" noProof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</p:txBody>
      </p:sp>
      <p:sp>
        <p:nvSpPr>
          <p:cNvPr id="42" name="Text Box 8">
            <a:extLst>
              <a:ext uri="{FF2B5EF4-FFF2-40B4-BE49-F238E27FC236}">
                <a16:creationId xmlns:a16="http://schemas.microsoft.com/office/drawing/2014/main" id="{EC6A44DF-3EEF-D15C-D42B-655D087D96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4840" y="1583040"/>
            <a:ext cx="987616" cy="500149"/>
          </a:xfrm>
          <a:prstGeom prst="rect">
            <a:avLst/>
          </a:prstGeom>
          <a:noFill/>
          <a:ln>
            <a:noFill/>
          </a:ln>
        </p:spPr>
        <p:txBody>
          <a:bodyPr wrap="square" lIns="90000" tIns="55584" rIns="90000" bIns="4500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8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4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0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panose="02020603050405020304" pitchFamily="18" charset="0"/>
              <a:buNone/>
              <a:tabLst>
                <a:tab pos="723900" algn="l"/>
                <a:tab pos="1447800" algn="l"/>
              </a:tabLst>
              <a:defRPr/>
            </a:pPr>
            <a:r>
              <a:rPr kumimoji="0" lang="fr-F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Frost </a:t>
            </a:r>
            <a:r>
              <a:rPr kumimoji="0" lang="fr-FR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detection</a:t>
            </a:r>
            <a:endParaRPr kumimoji="0" lang="fr-F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</p:txBody>
      </p:sp>
      <p:sp>
        <p:nvSpPr>
          <p:cNvPr id="43" name="Text Box 8">
            <a:extLst>
              <a:ext uri="{FF2B5EF4-FFF2-40B4-BE49-F238E27FC236}">
                <a16:creationId xmlns:a16="http://schemas.microsoft.com/office/drawing/2014/main" id="{1DB4253C-5D26-0E75-5ABB-464D41D32B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98189" y="1593808"/>
            <a:ext cx="990279" cy="500149"/>
          </a:xfrm>
          <a:prstGeom prst="rect">
            <a:avLst/>
          </a:prstGeom>
          <a:noFill/>
          <a:ln>
            <a:noFill/>
          </a:ln>
        </p:spPr>
        <p:txBody>
          <a:bodyPr wrap="square" lIns="0" tIns="55584" rIns="0" bIns="4500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8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4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0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panose="02020603050405020304" pitchFamily="18" charset="0"/>
              <a:buNone/>
              <a:tabLst>
                <a:tab pos="723900" algn="l"/>
                <a:tab pos="1447800" algn="l"/>
              </a:tabLst>
              <a:defRPr/>
            </a:pPr>
            <a:r>
              <a:rPr kumimoji="0" lang="fr-F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up </a:t>
            </a:r>
            <a:r>
              <a:rPr kumimoji="0" lang="fr-FR" alt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readjustment</a:t>
            </a:r>
            <a:endParaRPr kumimoji="0" lang="fr-FR" altLang="en-US" sz="1200" b="0" i="0" u="none" strike="noStrike" kern="1200" cap="none" spc="0" normalizeH="0" baseline="0" noProof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</p:txBody>
      </p:sp>
      <p:pic>
        <p:nvPicPr>
          <p:cNvPr id="44" name="Obraz 6">
            <a:extLst>
              <a:ext uri="{FF2B5EF4-FFF2-40B4-BE49-F238E27FC236}">
                <a16:creationId xmlns:a16="http://schemas.microsoft.com/office/drawing/2014/main" id="{4489D355-4BD1-4FB2-203A-D0E7E7DCF3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2651" y="891172"/>
            <a:ext cx="787894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Text Box 8">
            <a:extLst>
              <a:ext uri="{FF2B5EF4-FFF2-40B4-BE49-F238E27FC236}">
                <a16:creationId xmlns:a16="http://schemas.microsoft.com/office/drawing/2014/main" id="{BC159EFE-3E0E-718D-4CF9-0E17909B0B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64616" y="1589329"/>
            <a:ext cx="826357" cy="500149"/>
          </a:xfrm>
          <a:prstGeom prst="rect">
            <a:avLst/>
          </a:prstGeom>
          <a:noFill/>
          <a:ln>
            <a:noFill/>
          </a:ln>
        </p:spPr>
        <p:txBody>
          <a:bodyPr wrap="square" lIns="0" tIns="55584" rIns="0" bIns="4500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8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4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0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panose="02020603050405020304" pitchFamily="18" charset="0"/>
              <a:buNone/>
              <a:tabLst>
                <a:tab pos="723900" algn="l"/>
                <a:tab pos="1447800" algn="l"/>
              </a:tabLst>
              <a:defRPr/>
            </a:pPr>
            <a:r>
              <a:rPr kumimoji="0" lang="fr-F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Back release</a:t>
            </a:r>
          </a:p>
        </p:txBody>
      </p:sp>
      <p:pic>
        <p:nvPicPr>
          <p:cNvPr id="46" name="Image 57">
            <a:extLst>
              <a:ext uri="{FF2B5EF4-FFF2-40B4-BE49-F238E27FC236}">
                <a16:creationId xmlns:a16="http://schemas.microsoft.com/office/drawing/2014/main" id="{D638E4BB-13A6-74DC-DC28-2633EF1A238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513" y="927172"/>
            <a:ext cx="736438" cy="720000"/>
          </a:xfrm>
          <a:prstGeom prst="rect">
            <a:avLst/>
          </a:prstGeom>
        </p:spPr>
      </p:pic>
      <p:sp>
        <p:nvSpPr>
          <p:cNvPr id="47" name="Ellipse 36">
            <a:extLst>
              <a:ext uri="{FF2B5EF4-FFF2-40B4-BE49-F238E27FC236}">
                <a16:creationId xmlns:a16="http://schemas.microsoft.com/office/drawing/2014/main" id="{30A95955-02C9-5014-BE7F-0594C2BD66D2}"/>
              </a:ext>
            </a:extLst>
          </p:cNvPr>
          <p:cNvSpPr/>
          <p:nvPr/>
        </p:nvSpPr>
        <p:spPr>
          <a:xfrm>
            <a:off x="8656728" y="3923600"/>
            <a:ext cx="468000" cy="468000"/>
          </a:xfrm>
          <a:prstGeom prst="ellipse">
            <a:avLst/>
          </a:prstGeom>
          <a:noFill/>
          <a:ln w="2222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Ellipse 37">
            <a:extLst>
              <a:ext uri="{FF2B5EF4-FFF2-40B4-BE49-F238E27FC236}">
                <a16:creationId xmlns:a16="http://schemas.microsoft.com/office/drawing/2014/main" id="{DE0CF2D5-F723-1906-AC3A-ADE03947E8DD}"/>
              </a:ext>
            </a:extLst>
          </p:cNvPr>
          <p:cNvSpPr/>
          <p:nvPr/>
        </p:nvSpPr>
        <p:spPr>
          <a:xfrm>
            <a:off x="4180345" y="3864122"/>
            <a:ext cx="468000" cy="468000"/>
          </a:xfrm>
          <a:prstGeom prst="ellipse">
            <a:avLst/>
          </a:prstGeom>
          <a:noFill/>
          <a:ln w="2222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F6C5793C-B273-D1C0-49FD-0C5326DD2DD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370849" y="2240135"/>
            <a:ext cx="777067" cy="896005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25747E0F-8FB0-A97E-2357-C664AD03899A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1101857" y="927172"/>
            <a:ext cx="708907" cy="705966"/>
          </a:xfrm>
          <a:prstGeom prst="rect">
            <a:avLst/>
          </a:prstGeom>
        </p:spPr>
      </p:pic>
      <p:sp>
        <p:nvSpPr>
          <p:cNvPr id="52" name="Text Box 8">
            <a:extLst>
              <a:ext uri="{FF2B5EF4-FFF2-40B4-BE49-F238E27FC236}">
                <a16:creationId xmlns:a16="http://schemas.microsoft.com/office/drawing/2014/main" id="{7B039D99-8CA6-A45F-0CDB-320D630668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962502" y="1608955"/>
            <a:ext cx="987616" cy="500149"/>
          </a:xfrm>
          <a:prstGeom prst="rect">
            <a:avLst/>
          </a:prstGeom>
          <a:noFill/>
          <a:ln>
            <a:noFill/>
          </a:ln>
        </p:spPr>
        <p:txBody>
          <a:bodyPr wrap="square" lIns="90000" tIns="55584" rIns="90000" bIns="4500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8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4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0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panose="02020603050405020304" pitchFamily="18" charset="0"/>
              <a:buNone/>
              <a:tabLst>
                <a:tab pos="723900" algn="l"/>
                <a:tab pos="1447800" algn="l"/>
              </a:tabLst>
              <a:defRPr/>
            </a:pPr>
            <a:r>
              <a:rPr kumimoji="0" lang="hu-HU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Silent function</a:t>
            </a:r>
            <a:endParaRPr kumimoji="0" lang="fr-F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</p:txBody>
      </p:sp>
      <p:sp>
        <p:nvSpPr>
          <p:cNvPr id="53" name="Text Box 8">
            <a:extLst>
              <a:ext uri="{FF2B5EF4-FFF2-40B4-BE49-F238E27FC236}">
                <a16:creationId xmlns:a16="http://schemas.microsoft.com/office/drawing/2014/main" id="{70083947-D0E3-EDF6-CE47-EB5311C92F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91466" y="1596698"/>
            <a:ext cx="987616" cy="500149"/>
          </a:xfrm>
          <a:prstGeom prst="rect">
            <a:avLst/>
          </a:prstGeom>
          <a:noFill/>
          <a:ln>
            <a:noFill/>
          </a:ln>
        </p:spPr>
        <p:txBody>
          <a:bodyPr wrap="square" lIns="90000" tIns="55584" rIns="90000" bIns="4500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8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4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0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panose="02020603050405020304" pitchFamily="18" charset="0"/>
              <a:buNone/>
              <a:tabLst>
                <a:tab pos="723900" algn="l"/>
                <a:tab pos="1447800" algn="l"/>
              </a:tabLst>
              <a:defRPr/>
            </a:pPr>
            <a:r>
              <a:rPr kumimoji="0" lang="hu-HU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Favorite position</a:t>
            </a:r>
            <a:endParaRPr kumimoji="0" lang="fr-F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</p:txBody>
      </p:sp>
      <p:sp>
        <p:nvSpPr>
          <p:cNvPr id="54" name="Text Box 8">
            <a:extLst>
              <a:ext uri="{FF2B5EF4-FFF2-40B4-BE49-F238E27FC236}">
                <a16:creationId xmlns:a16="http://schemas.microsoft.com/office/drawing/2014/main" id="{1EA7E1CC-FB29-1234-8B47-C2EDA1A7BD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50711" y="1592429"/>
            <a:ext cx="987616" cy="500149"/>
          </a:xfrm>
          <a:prstGeom prst="rect">
            <a:avLst/>
          </a:prstGeom>
          <a:noFill/>
          <a:ln>
            <a:noFill/>
          </a:ln>
        </p:spPr>
        <p:txBody>
          <a:bodyPr wrap="square" lIns="90000" tIns="55584" rIns="90000" bIns="4500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8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4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 sz="200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723900" algn="l"/>
                <a:tab pos="1447800" algn="l"/>
              </a:tabLst>
              <a:defRPr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panose="02020603050405020304" pitchFamily="18" charset="0"/>
              <a:buNone/>
              <a:tabLst>
                <a:tab pos="723900" algn="l"/>
                <a:tab pos="1447800" algn="l"/>
              </a:tabLst>
              <a:defRPr/>
            </a:pPr>
            <a:r>
              <a:rPr kumimoji="0" lang="hu-HU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Favorite position</a:t>
            </a:r>
            <a:endParaRPr kumimoji="0" lang="fr-F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74049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884305D-CDE6-CE46-E3F8-1B8F743E2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37F0C63-9D9F-2642-9BE6-825938832B4F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itchFamily="2" charset="0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Somfy Sans" pitchFamily="2" charset="0"/>
              <a:ea typeface="+mn-ea"/>
              <a:cs typeface="Arial"/>
              <a:sym typeface="Arial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6727DECC-F34A-42B0-7C29-3C5C789F1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6"/>
            <a:ext cx="11189553" cy="659704"/>
          </a:xfrm>
        </p:spPr>
        <p:txBody>
          <a:bodyPr>
            <a:normAutofit/>
          </a:bodyPr>
          <a:lstStyle/>
          <a:p>
            <a:r>
              <a:rPr lang="hu-HU" dirty="0"/>
              <a:t>J4 io protect </a:t>
            </a:r>
            <a:r>
              <a:rPr lang="cs-CZ" dirty="0"/>
              <a:t>phase out – matrix - MOTORS</a:t>
            </a:r>
            <a:endParaRPr lang="fr-FR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4D50ACB1-C8C2-DD51-B27E-4424CA56D0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1558034"/>
              </p:ext>
            </p:extLst>
          </p:nvPr>
        </p:nvGraphicFramePr>
        <p:xfrm>
          <a:off x="2204185" y="1024828"/>
          <a:ext cx="7180446" cy="56876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50196">
                  <a:extLst>
                    <a:ext uri="{9D8B030D-6E8A-4147-A177-3AD203B41FA5}">
                      <a16:colId xmlns:a16="http://schemas.microsoft.com/office/drawing/2014/main" val="231917780"/>
                    </a:ext>
                  </a:extLst>
                </a:gridCol>
                <a:gridCol w="2518514">
                  <a:extLst>
                    <a:ext uri="{9D8B030D-6E8A-4147-A177-3AD203B41FA5}">
                      <a16:colId xmlns:a16="http://schemas.microsoft.com/office/drawing/2014/main" val="329548194"/>
                    </a:ext>
                  </a:extLst>
                </a:gridCol>
                <a:gridCol w="750196">
                  <a:extLst>
                    <a:ext uri="{9D8B030D-6E8A-4147-A177-3AD203B41FA5}">
                      <a16:colId xmlns:a16="http://schemas.microsoft.com/office/drawing/2014/main" val="1875258746"/>
                    </a:ext>
                  </a:extLst>
                </a:gridCol>
                <a:gridCol w="3161540">
                  <a:extLst>
                    <a:ext uri="{9D8B030D-6E8A-4147-A177-3AD203B41FA5}">
                      <a16:colId xmlns:a16="http://schemas.microsoft.com/office/drawing/2014/main" val="156905493"/>
                    </a:ext>
                  </a:extLst>
                </a:gridCol>
              </a:tblGrid>
              <a:tr h="29411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NEW REF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DESCRIP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LD REF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DESCRIP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3803810195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1244795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M GEN2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1067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6/24 IO PRO UNIT SW/CZ-P89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275289028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796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M GEN3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1067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6/24 IO PRO UNIT AUST-P89 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2861229737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797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9M ROM 144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1068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6/24 IO PR P144 RO/DIF-P62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507236160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80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M ISO 144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1068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6/24 IO PRO PACK AUST-P89 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3958325001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803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M STE 144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1070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6/24 IO PRO PACK W/H-P39  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1078277835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804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M HD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1072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6/24 IO PRO UNIT RO/DI-P62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1940194208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805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M STE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1072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6/24 IO PRO UNIT W/H - P39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3845540495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806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M HEL 144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02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J4 06/24 IO PRO PACK HE-P39  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2027925242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808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M GEN1 144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100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6/24 IO PRO PACK SWCZ-P89 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2815290465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809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M HD 144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134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06 IO+ 6/24 0.5M HD PACK-P39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1854180834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81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10 IO PRO 0,5M GEN2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1067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10/24 IO PRO UNI SW/CZ-P89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3817754682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811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10 IO PRO 0,5M GEN3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1068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10/24 IO PRO UNIT AUST-P89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1215708359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812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10 IO PRO 0,9M ROM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1068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10/24 IO PR UNIT RO/DIF-P62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1010908150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814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10 IO PRO 0,5M STE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1070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10/24 IO PRO UNIT W/H-P39 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2549426239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816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10 IO PRO 0,5M HEL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021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10 10/24 IO PRO UNIT HE-P39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1749924300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818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10 IO PRO 0,5M HD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135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10 IO+10/24 0.5M HD UNIT-P39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2036653190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819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M GEN1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1067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06 6/24 IO PROTECT UNIT-P145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1232372590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482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10 IO PRO 0,5M GEN1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1067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10/24 IO PROTECT UNIT-P145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41561720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5829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M NYF 144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134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06 IO+ 6/24 0.5M AA PACK-P89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3304181281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583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M NYF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134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06 IO+ 6/24 0.5M AAUNIT-P89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3831865212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5831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10 IO PRO 0,5M NYF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134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10 IO+ 10/24 0.5M AAUNIT-P89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2099256861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6051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M SCHL 144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584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06 6/24 IO PRO 0,5M SCHL-P98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4082614443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6065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M GEN2 144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606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06 IO PRO 0,5M GEN2 144-P98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322420058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6066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10 IO PRO 0,5M GEN4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606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10 IO PRO 0,5M GEN4 UNIT-P98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354006401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6722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 CLI BB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629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/06 IO PRO 0,5 CLI BB-P89  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1299402017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6842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M GEN3 144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100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6/24 IO PRO PACK SWCZ-P89 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3184605596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6843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10 IO PRO 0,5M GEN5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1067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10/24 IO PRO UNI SW/CZ-P89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1654524789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6877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 STO 144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100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6/24 IO PRO PACK SWCZ-P89 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1684897670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6878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10 IO PRO 0,5 STO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1067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 10/24 IO PRO UNI SW/CZ-P89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3382478454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7088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6 IO PRO 0,5M NEV BB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134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06 IO+ 6/24 0.5M AAUNIT-P89 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2265559925"/>
                  </a:ext>
                </a:extLst>
              </a:tr>
              <a:tr h="162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47089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>
                          <a:effectLst/>
                        </a:rPr>
                        <a:t>J4S 10 IO PRO 0,5M NEV UNI</a:t>
                      </a:r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41344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46" marR="6346" marT="63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u="none" strike="noStrike" dirty="0">
                          <a:effectLst/>
                        </a:rPr>
                        <a:t>J410 IO+ 10/24 0.5M AAUNIT-P89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46" marR="6346" marT="6346" marB="0" anchor="b"/>
                </a:tc>
                <a:extLst>
                  <a:ext uri="{0D108BD9-81ED-4DB2-BD59-A6C34878D82A}">
                    <a16:rowId xmlns:a16="http://schemas.microsoft.com/office/drawing/2014/main" val="42106670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15961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91DD1C-F195-483B-EEAC-50F7AC5843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EEEA9F3-95A2-5ACE-5712-DFB34832DB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37F0C63-9D9F-2642-9BE6-825938832B4F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itchFamily="2" charset="0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Somfy Sans" pitchFamily="2" charset="0"/>
              <a:ea typeface="+mn-ea"/>
              <a:cs typeface="Arial"/>
              <a:sym typeface="Arial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4CA3009B-5201-7E94-BD92-E1AADD595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6"/>
            <a:ext cx="11189553" cy="659704"/>
          </a:xfrm>
        </p:spPr>
        <p:txBody>
          <a:bodyPr>
            <a:normAutofit/>
          </a:bodyPr>
          <a:lstStyle/>
          <a:p>
            <a:r>
              <a:rPr lang="hu-HU" dirty="0"/>
              <a:t>J4 io protect </a:t>
            </a:r>
            <a:r>
              <a:rPr lang="cs-CZ" dirty="0"/>
              <a:t>phase out – matrix – ACCESSORIES</a:t>
            </a:r>
            <a:endParaRPr lang="fr-FR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F5D9A1C-6175-C89C-89DE-78E8ABC611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9781" y="1171177"/>
            <a:ext cx="3474378" cy="503882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233F030-9FCE-C0B3-474C-8607C4D2DA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4748" y="1171177"/>
            <a:ext cx="3757195" cy="5038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496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BtoC">
  <a:themeElements>
    <a:clrScheme name="Personnalisé 6">
      <a:dk1>
        <a:srgbClr val="24485A"/>
      </a:dk1>
      <a:lt1>
        <a:srgbClr val="FFFFFF"/>
      </a:lt1>
      <a:dk2>
        <a:srgbClr val="7C8D9B"/>
      </a:dk2>
      <a:lt2>
        <a:srgbClr val="FFFFFF"/>
      </a:lt2>
      <a:accent1>
        <a:srgbClr val="24485A"/>
      </a:accent1>
      <a:accent2>
        <a:srgbClr val="FAB800"/>
      </a:accent2>
      <a:accent3>
        <a:srgbClr val="CCC4BD"/>
      </a:accent3>
      <a:accent4>
        <a:srgbClr val="C3D2D6"/>
      </a:accent4>
      <a:accent5>
        <a:srgbClr val="FEEDBF"/>
      </a:accent5>
      <a:accent6>
        <a:srgbClr val="FBFAF8"/>
      </a:accent6>
      <a:hlink>
        <a:srgbClr val="DF94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C.pptx" id="{D1DA1EF0-C2B0-DC4A-8A06-5F543B933898}" vid="{7BBDF827-0EBF-064E-B380-261900BE761E}"/>
    </a:ext>
  </a:extLst>
</a:theme>
</file>

<file path=ppt/theme/theme2.xml><?xml version="1.0" encoding="utf-8"?>
<a:theme xmlns:a="http://schemas.openxmlformats.org/drawingml/2006/main" name="2_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3.xml><?xml version="1.0" encoding="utf-8"?>
<a:theme xmlns:a="http://schemas.openxmlformats.org/drawingml/2006/main" name="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4.xml><?xml version="1.0" encoding="utf-8"?>
<a:theme xmlns:a="http://schemas.openxmlformats.org/drawingml/2006/main" name="1_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5.xml><?xml version="1.0" encoding="utf-8"?>
<a:theme xmlns:a="http://schemas.openxmlformats.org/drawingml/2006/main" name="1_BtoC">
  <a:themeElements>
    <a:clrScheme name="Personnalisé 5">
      <a:dk1>
        <a:srgbClr val="2C464D"/>
      </a:dk1>
      <a:lt1>
        <a:srgbClr val="FFFFFF"/>
      </a:lt1>
      <a:dk2>
        <a:srgbClr val="7C8D9B"/>
      </a:dk2>
      <a:lt2>
        <a:srgbClr val="FFFFFF"/>
      </a:lt2>
      <a:accent1>
        <a:srgbClr val="2C464D"/>
      </a:accent1>
      <a:accent2>
        <a:srgbClr val="FAB800"/>
      </a:accent2>
      <a:accent3>
        <a:srgbClr val="CCC4BD"/>
      </a:accent3>
      <a:accent4>
        <a:srgbClr val="C3D2D6"/>
      </a:accent4>
      <a:accent5>
        <a:srgbClr val="FEEDBF"/>
      </a:accent5>
      <a:accent6>
        <a:srgbClr val="FBFAF8"/>
      </a:accent6>
      <a:hlink>
        <a:srgbClr val="DF94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C.pptx" id="{D1DA1EF0-C2B0-DC4A-8A06-5F543B933898}" vid="{7BBDF827-0EBF-064E-B380-261900BE761E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79f8234-1b3a-43c6-877d-00555ce149dc">
      <UserInfo>
        <DisplayName>HRNCIR, Jan</DisplayName>
        <AccountId>8385</AccountId>
        <AccountType/>
      </UserInfo>
    </SharedWithUsers>
    <SomfyDocumentTypeTaxHTField xmlns="20434CEC-F224-445D-89C8-DA7D5882575D">
      <Terms xmlns="http://schemas.microsoft.com/office/infopath/2007/PartnerControls"/>
    </SomfyDocumentTypeTaxHTField>
    <SomfyTagsTaxHTField xmlns="20434CEC-F224-445D-89C8-DA7D5882575D">
      <Terms xmlns="http://schemas.microsoft.com/office/infopath/2007/PartnerControls"/>
    </SomfyTagsTaxHTField>
    <TaxCatchAll xmlns="579f8234-1b3a-43c6-877d-00555ce149dc" xsi:nil="true"/>
    <lcf76f155ced4ddcb4097134ff3c332f xmlns="3e1aacae-9e28-4cb9-a711-7bf6fdad1110">
      <Terms xmlns="http://schemas.microsoft.com/office/infopath/2007/PartnerControls"/>
    </lcf76f155ced4ddcb4097134ff3c332f>
    <SomfySite xmlns="579f8234-1b3a-43c6-877d-00555ce149d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198A4C9DBE41DC9E4CEB39D1D3D20B00DB39C438DF6EDA418DF2A590C03B882E" ma:contentTypeVersion="16" ma:contentTypeDescription="Create a new document." ma:contentTypeScope="" ma:versionID="14d251fc83959c107b34af4afbcdf626">
  <xsd:schema xmlns:xsd="http://www.w3.org/2001/XMLSchema" xmlns:xs="http://www.w3.org/2001/XMLSchema" xmlns:p="http://schemas.microsoft.com/office/2006/metadata/properties" xmlns:ns2="20434CEC-F224-445D-89C8-DA7D5882575D" xmlns:ns3="579f8234-1b3a-43c6-877d-00555ce149dc" xmlns:ns4="3e1aacae-9e28-4cb9-a711-7bf6fdad1110" targetNamespace="http://schemas.microsoft.com/office/2006/metadata/properties" ma:root="true" ma:fieldsID="e3cccb47932b71a2dd86f71beb38e40a" ns2:_="" ns3:_="" ns4:_="">
    <xsd:import namespace="20434CEC-F224-445D-89C8-DA7D5882575D"/>
    <xsd:import namespace="579f8234-1b3a-43c6-877d-00555ce149dc"/>
    <xsd:import namespace="3e1aacae-9e28-4cb9-a711-7bf6fdad1110"/>
    <xsd:element name="properties">
      <xsd:complexType>
        <xsd:sequence>
          <xsd:element name="documentManagement">
            <xsd:complexType>
              <xsd:all>
                <xsd:element ref="ns2:SomfyTagsTaxHTField" minOccurs="0"/>
                <xsd:element ref="ns2:SomfyDocumentTypeTaxHTField" minOccurs="0"/>
                <xsd:element ref="ns3:SomfySite" minOccurs="0"/>
                <xsd:element ref="ns3:TaxCatchAll" minOccurs="0"/>
                <xsd:element ref="ns4:MediaServiceMetadata" minOccurs="0"/>
                <xsd:element ref="ns4:MediaServiceFastMetadata" minOccurs="0"/>
                <xsd:element ref="ns3:SharedWithUsers" minOccurs="0"/>
                <xsd:element ref="ns3:SharedWithDetails" minOccurs="0"/>
                <xsd:element ref="ns4:lcf76f155ced4ddcb4097134ff3c332f" minOccurs="0"/>
                <xsd:element ref="ns4:MediaServiceDateTaken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LengthInSeconds" minOccurs="0"/>
                <xsd:element ref="ns4:MediaServiceObjectDetectorVersions" minOccurs="0"/>
                <xsd:element ref="ns4:MediaServiceSearchProperties" minOccurs="0"/>
                <xsd:element ref="ns4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434CEC-F224-445D-89C8-DA7D5882575D" elementFormDefault="qualified">
    <xsd:import namespace="http://schemas.microsoft.com/office/2006/documentManagement/types"/>
    <xsd:import namespace="http://schemas.microsoft.com/office/infopath/2007/PartnerControls"/>
    <xsd:element name="SomfyTagsTaxHTField" ma:index="8" nillable="true" ma:taxonomy="true" ma:internalName="SomfyTagsTaxHTField" ma:taxonomyFieldName="SomfyTags" ma:displayName="Tags" ma:fieldId="{8b81c89c-6d4b-4a9e-bfe4-626fe045d6df}" ma:taxonomyMulti="true" ma:sspId="4560a912-820e-4fa3-9fe9-00a4a9064378" ma:termSetId="3ac6d041-c917-422f-9282-66ea33c5c43a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SomfyDocumentTypeTaxHTField" ma:index="10" nillable="true" ma:taxonomy="true" ma:internalName="SomfyDocumentTypeTaxHTField" ma:taxonomyFieldName="SomfyDocumentType" ma:displayName="Document Type" ma:fieldId="{809ca003-ebd1-4854-a594-2d312d6d6983}" ma:sspId="4560a912-820e-4fa3-9fe9-00a4a9064378" ma:termSetId="8b5d468f-06c9-4f1d-a6b4-0e5e089ccb37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9f8234-1b3a-43c6-877d-00555ce149dc" elementFormDefault="qualified">
    <xsd:import namespace="http://schemas.microsoft.com/office/2006/documentManagement/types"/>
    <xsd:import namespace="http://schemas.microsoft.com/office/infopath/2007/PartnerControls"/>
    <xsd:element name="SomfySite" ma:index="12" nillable="true" ma:displayName="Site" ma:hidden="true" ma:internalName="SomfySite">
      <xsd:simpleType>
        <xsd:restriction base="dms:Text">
          <xsd:maxLength value="255"/>
        </xsd:restriction>
      </xsd:simpleType>
    </xsd:element>
    <xsd:element name="TaxCatchAll" ma:index="13" nillable="true" ma:displayName="Taxonomy Catch All Column" ma:description="" ma:hidden="true" ma:list="{4b62be17-7237-4d73-8643-1aaf087bd901}" ma:internalName="TaxCatchAll" ma:showField="CatchAllData" ma:web="579f8234-1b3a-43c6-877d-00555ce149d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1aacae-9e28-4cb9-a711-7bf6fdad11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4560a912-820e-4fa3-9fe9-00a4a906437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F0CC633-74FE-419D-929C-9FEFF342768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2F3808B-8BBE-4A71-A001-A90A7F9A0D1E}">
  <ds:schemaRefs>
    <ds:schemaRef ds:uri="20434CEC-F224-445D-89C8-DA7D5882575D"/>
    <ds:schemaRef ds:uri="3e1aacae-9e28-4cb9-a711-7bf6fdad1110"/>
    <ds:schemaRef ds:uri="579f8234-1b3a-43c6-877d-00555ce149dc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0EEFC37-0C5B-428C-9C4E-897683D9A0C1}">
  <ds:schemaRefs>
    <ds:schemaRef ds:uri="20434CEC-F224-445D-89C8-DA7D5882575D"/>
    <ds:schemaRef ds:uri="3e1aacae-9e28-4cb9-a711-7bf6fdad1110"/>
    <ds:schemaRef ds:uri="579f8234-1b3a-43c6-877d-00555ce149d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ème Office</Template>
  <TotalTime>504</TotalTime>
  <Words>612</Words>
  <Application>Microsoft Office PowerPoint</Application>
  <PresentationFormat>Widescreen</PresentationFormat>
  <Paragraphs>159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1" baseType="lpstr">
      <vt:lpstr>Apple Symbols</vt:lpstr>
      <vt:lpstr>Aptos Narrow</vt:lpstr>
      <vt:lpstr>Arial</vt:lpstr>
      <vt:lpstr>Calibri</vt:lpstr>
      <vt:lpstr>Open Sans</vt:lpstr>
      <vt:lpstr>Open Sans Light</vt:lpstr>
      <vt:lpstr>Somfy Sans</vt:lpstr>
      <vt:lpstr>Somfy Sans ExtraLight</vt:lpstr>
      <vt:lpstr>Somfy Sans Light</vt:lpstr>
      <vt:lpstr>Times New Roman</vt:lpstr>
      <vt:lpstr>Wingdings</vt:lpstr>
      <vt:lpstr>BtoC</vt:lpstr>
      <vt:lpstr>2_BtoB</vt:lpstr>
      <vt:lpstr>BtoB</vt:lpstr>
      <vt:lpstr>1_BtoB</vt:lpstr>
      <vt:lpstr>1_BtoC</vt:lpstr>
      <vt:lpstr>think-cell Slide</vt:lpstr>
      <vt:lpstr> J4 io  J4S io Phase out information</vt:lpstr>
      <vt:lpstr>PowerPoint Presentation</vt:lpstr>
      <vt:lpstr>J4 io protect phase out – matrix - MOTORS</vt:lpstr>
      <vt:lpstr>J4 io protect phase out – matrix – ACCESSORI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  la présentation  en 3 lignes</dc:title>
  <dc:creator>Ferry, Joanna (PAR-FUB)</dc:creator>
  <cp:lastModifiedBy>HARSANYI, David</cp:lastModifiedBy>
  <cp:revision>2</cp:revision>
  <dcterms:created xsi:type="dcterms:W3CDTF">2022-05-02T10:02:42Z</dcterms:created>
  <dcterms:modified xsi:type="dcterms:W3CDTF">2025-08-18T14:47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fcb221a-6e97-4d92-b656-ecf531a71c86_Enabled">
    <vt:lpwstr>true</vt:lpwstr>
  </property>
  <property fmtid="{D5CDD505-2E9C-101B-9397-08002B2CF9AE}" pid="3" name="MSIP_Label_afcb221a-6e97-4d92-b656-ecf531a71c86_SetDate">
    <vt:lpwstr>2022-11-18T09:51:33Z</vt:lpwstr>
  </property>
  <property fmtid="{D5CDD505-2E9C-101B-9397-08002B2CF9AE}" pid="4" name="MSIP_Label_afcb221a-6e97-4d92-b656-ecf531a71c86_Method">
    <vt:lpwstr>Standard</vt:lpwstr>
  </property>
  <property fmtid="{D5CDD505-2E9C-101B-9397-08002B2CF9AE}" pid="5" name="MSIP_Label_afcb221a-6e97-4d92-b656-ecf531a71c86_Name">
    <vt:lpwstr>General</vt:lpwstr>
  </property>
  <property fmtid="{D5CDD505-2E9C-101B-9397-08002B2CF9AE}" pid="6" name="MSIP_Label_afcb221a-6e97-4d92-b656-ecf531a71c86_SiteId">
    <vt:lpwstr>6f2633ea-c60d-4a07-be1c-b5cd19f27133</vt:lpwstr>
  </property>
  <property fmtid="{D5CDD505-2E9C-101B-9397-08002B2CF9AE}" pid="7" name="MSIP_Label_afcb221a-6e97-4d92-b656-ecf531a71c86_ActionId">
    <vt:lpwstr>a5b01d10-b8c9-409f-8729-884a06ec42b7</vt:lpwstr>
  </property>
  <property fmtid="{D5CDD505-2E9C-101B-9397-08002B2CF9AE}" pid="8" name="MSIP_Label_afcb221a-6e97-4d92-b656-ecf531a71c86_ContentBits">
    <vt:lpwstr>0</vt:lpwstr>
  </property>
  <property fmtid="{D5CDD505-2E9C-101B-9397-08002B2CF9AE}" pid="9" name="ContentTypeId">
    <vt:lpwstr>0x010100E9198A4C9DBE41DC9E4CEB39D1D3D20B00DB39C438DF6EDA418DF2A590C03B882E</vt:lpwstr>
  </property>
  <property fmtid="{D5CDD505-2E9C-101B-9397-08002B2CF9AE}" pid="10" name="MediaServiceImageTags">
    <vt:lpwstr/>
  </property>
  <property fmtid="{D5CDD505-2E9C-101B-9397-08002B2CF9AE}" pid="11" name="SomfyDocumentType">
    <vt:lpwstr/>
  </property>
  <property fmtid="{D5CDD505-2E9C-101B-9397-08002B2CF9AE}" pid="12" name="SomfyTags">
    <vt:lpwstr/>
  </property>
</Properties>
</file>